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4.xml" ContentType="application/vnd.openxmlformats-officedocument.drawingml.chart+xml"/>
  <Override PartName="/ppt/notesSlides/notesSlide1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20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21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22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23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24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25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26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27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notesSlides/notesSlide28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notesSlides/notesSlide29.xml" ContentType="application/vnd.openxmlformats-officedocument.presentationml.notesSlid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notesSlides/notesSlide30.xml" ContentType="application/vnd.openxmlformats-officedocument.presentationml.notesSlide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notesSlides/notesSlide31.xml" ContentType="application/vnd.openxmlformats-officedocument.presentationml.notesSlide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charts/chart5.xml" ContentType="application/vnd.openxmlformats-officedocument.drawingml.chart+xml"/>
  <Override PartName="/ppt/notesSlides/notesSlide37.xml" ContentType="application/vnd.openxmlformats-officedocument.presentationml.notesSlide+xml"/>
  <Override PartName="/ppt/charts/chart6.xml" ContentType="application/vnd.openxmlformats-officedocument.drawingml.chart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8"/>
  </p:notesMasterIdLst>
  <p:handoutMasterIdLst>
    <p:handoutMasterId r:id="rId49"/>
  </p:handoutMasterIdLst>
  <p:sldIdLst>
    <p:sldId id="256" r:id="rId2"/>
    <p:sldId id="336" r:id="rId3"/>
    <p:sldId id="332" r:id="rId4"/>
    <p:sldId id="333" r:id="rId5"/>
    <p:sldId id="334" r:id="rId6"/>
    <p:sldId id="335" r:id="rId7"/>
    <p:sldId id="270" r:id="rId8"/>
    <p:sldId id="313" r:id="rId9"/>
    <p:sldId id="318" r:id="rId10"/>
    <p:sldId id="314" r:id="rId11"/>
    <p:sldId id="315" r:id="rId12"/>
    <p:sldId id="316" r:id="rId13"/>
    <p:sldId id="317" r:id="rId14"/>
    <p:sldId id="282" r:id="rId15"/>
    <p:sldId id="283" r:id="rId16"/>
    <p:sldId id="284" r:id="rId17"/>
    <p:sldId id="285" r:id="rId18"/>
    <p:sldId id="286" r:id="rId19"/>
    <p:sldId id="271" r:id="rId20"/>
    <p:sldId id="287" r:id="rId21"/>
    <p:sldId id="288" r:id="rId22"/>
    <p:sldId id="289" r:id="rId23"/>
    <p:sldId id="290" r:id="rId24"/>
    <p:sldId id="291" r:id="rId25"/>
    <p:sldId id="292" r:id="rId26"/>
    <p:sldId id="293" r:id="rId27"/>
    <p:sldId id="294" r:id="rId28"/>
    <p:sldId id="295" r:id="rId29"/>
    <p:sldId id="296" r:id="rId30"/>
    <p:sldId id="297" r:id="rId31"/>
    <p:sldId id="298" r:id="rId32"/>
    <p:sldId id="299" r:id="rId33"/>
    <p:sldId id="337" r:id="rId34"/>
    <p:sldId id="320" r:id="rId35"/>
    <p:sldId id="321" r:id="rId36"/>
    <p:sldId id="322" r:id="rId37"/>
    <p:sldId id="338" r:id="rId38"/>
    <p:sldId id="339" r:id="rId39"/>
    <p:sldId id="340" r:id="rId40"/>
    <p:sldId id="326" r:id="rId41"/>
    <p:sldId id="327" r:id="rId42"/>
    <p:sldId id="328" r:id="rId43"/>
    <p:sldId id="329" r:id="rId44"/>
    <p:sldId id="330" r:id="rId45"/>
    <p:sldId id="341" r:id="rId46"/>
    <p:sldId id="331" r:id="rId47"/>
  </p:sldIdLst>
  <p:sldSz cx="10799763" cy="7205663"/>
  <p:notesSz cx="6797675" cy="9874250"/>
  <p:defaultTextStyle>
    <a:defPPr>
      <a:defRPr lang="en-US"/>
    </a:defPPr>
    <a:lvl1pPr algn="l" defTabSz="51435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Calibri" pitchFamily="34" charset="0"/>
        <a:ea typeface="Geneva"/>
        <a:cs typeface="Geneva"/>
      </a:defRPr>
    </a:lvl1pPr>
    <a:lvl2pPr marL="514350" indent="-57150" algn="l" defTabSz="51435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Calibri" pitchFamily="34" charset="0"/>
        <a:ea typeface="Geneva"/>
        <a:cs typeface="Geneva"/>
      </a:defRPr>
    </a:lvl2pPr>
    <a:lvl3pPr marL="1028700" indent="-114300" algn="l" defTabSz="51435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Calibri" pitchFamily="34" charset="0"/>
        <a:ea typeface="Geneva"/>
        <a:cs typeface="Geneva"/>
      </a:defRPr>
    </a:lvl3pPr>
    <a:lvl4pPr marL="1543050" indent="-171450" algn="l" defTabSz="51435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Calibri" pitchFamily="34" charset="0"/>
        <a:ea typeface="Geneva"/>
        <a:cs typeface="Geneva"/>
      </a:defRPr>
    </a:lvl4pPr>
    <a:lvl5pPr marL="2057400" indent="-228600" algn="l" defTabSz="51435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Calibri" pitchFamily="34" charset="0"/>
        <a:ea typeface="Geneva"/>
        <a:cs typeface="Geneva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Calibri" pitchFamily="34" charset="0"/>
        <a:ea typeface="Geneva"/>
        <a:cs typeface="Geneva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Calibri" pitchFamily="34" charset="0"/>
        <a:ea typeface="Geneva"/>
        <a:cs typeface="Geneva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Calibri" pitchFamily="34" charset="0"/>
        <a:ea typeface="Geneva"/>
        <a:cs typeface="Geneva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Calibri" pitchFamily="34" charset="0"/>
        <a:ea typeface="Geneva"/>
        <a:cs typeface="Geneva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7823"/>
    <a:srgbClr val="216032"/>
    <a:srgbClr val="991324"/>
    <a:srgbClr val="79B8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059" autoAdjust="0"/>
    <p:restoredTop sz="94633" autoAdjust="0"/>
  </p:normalViewPr>
  <p:slideViewPr>
    <p:cSldViewPr snapToGrid="0" snapToObjects="1">
      <p:cViewPr varScale="1">
        <p:scale>
          <a:sx n="67" d="100"/>
          <a:sy n="67" d="100"/>
        </p:scale>
        <p:origin x="-774" y="-114"/>
      </p:cViewPr>
      <p:guideLst>
        <p:guide orient="horz" pos="2270"/>
        <p:guide pos="340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7166"/>
    </p:cViewPr>
  </p:sorterViewPr>
  <p:notesViewPr>
    <p:cSldViewPr snapToGrid="0" snapToObjects="1">
      <p:cViewPr varScale="1">
        <p:scale>
          <a:sx n="105" d="100"/>
          <a:sy n="105" d="100"/>
        </p:scale>
        <p:origin x="-2792" y="-96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arco.granja\Desktop\INDICADORES%20GESTAO\Dados%20Apresenta&#231;ao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Chart%203%20in%20Microsoft%20Office%20PowerPoint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server01\EAC\uapi\SIAC\Sess&#227;o%20anual%20COMPETE\BD_projectos_30NOV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server01\EAC\uapi\SIAC\Sess&#227;o%20anual%20COMPETE\BD_projectos_30NOV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2000">
                <a:latin typeface="Arial" pitchFamily="34" charset="0"/>
                <a:cs typeface="Arial" pitchFamily="34" charset="0"/>
              </a:defRPr>
            </a:pPr>
            <a:r>
              <a:rPr lang="pt-PT" sz="2000" dirty="0" smtClean="0">
                <a:latin typeface="Arial" pitchFamily="34" charset="0"/>
                <a:cs typeface="Arial" pitchFamily="34" charset="0"/>
              </a:rPr>
              <a:t>Aprovações</a:t>
            </a:r>
            <a:endParaRPr lang="pt-PT" sz="2000" dirty="0">
              <a:latin typeface="Arial" pitchFamily="34" charset="0"/>
              <a:cs typeface="Arial" pitchFamily="34" charset="0"/>
            </a:endParaRPr>
          </a:p>
        </c:rich>
      </c:tx>
      <c:layout>
        <c:manualLayout>
          <c:xMode val="edge"/>
          <c:yMode val="edge"/>
          <c:x val="0.45209817893903415"/>
          <c:y val="2.9532403609516002E-2"/>
        </c:manualLayout>
      </c:layout>
      <c:overlay val="0"/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0.23128341935108809"/>
          <c:w val="1"/>
          <c:h val="0.66833922215834618"/>
        </c:manualLayout>
      </c:layout>
      <c:bar3DChart>
        <c:barDir val="col"/>
        <c:grouping val="clustered"/>
        <c:varyColors val="0"/>
        <c:ser>
          <c:idx val="1"/>
          <c:order val="0"/>
          <c:tx>
            <c:strRef>
              <c:f>Folha7!$Q$14</c:f>
              <c:strCache>
                <c:ptCount val="1"/>
                <c:pt idx="0">
                  <c:v>Investimento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5835312747427058E-3"/>
                  <c:y val="9.84413453650533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46 M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1.5835312747426761E-3"/>
                  <c:y val="8.859721082854800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05 M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 b="1">
                    <a:latin typeface="Arial" pitchFamily="34" charset="0"/>
                    <a:cs typeface="Arial" pitchFamily="34" charset="0"/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Folha7!$O$15:$O$16</c:f>
              <c:strCache>
                <c:ptCount val="2"/>
                <c:pt idx="0">
                  <c:v>SI I&amp;DT</c:v>
                </c:pt>
                <c:pt idx="1">
                  <c:v>SAESCTN</c:v>
                </c:pt>
              </c:strCache>
            </c:strRef>
          </c:cat>
          <c:val>
            <c:numRef>
              <c:f>Folha7!$Q$15:$Q$16</c:f>
              <c:numCache>
                <c:formatCode>General</c:formatCode>
                <c:ptCount val="2"/>
                <c:pt idx="0">
                  <c:v>646</c:v>
                </c:pt>
                <c:pt idx="1">
                  <c:v>305</c:v>
                </c:pt>
              </c:numCache>
            </c:numRef>
          </c:val>
        </c:ser>
        <c:ser>
          <c:idx val="2"/>
          <c:order val="1"/>
          <c:tx>
            <c:strRef>
              <c:f>Folha7!$R$14</c:f>
              <c:strCache>
                <c:ptCount val="1"/>
                <c:pt idx="0">
                  <c:v>Incentivo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"/>
                  <c:y val="9.1878589007383105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40 M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8.8597210828548004E-2"/>
                </c:manualLayout>
              </c:layout>
              <c:tx>
                <c:rich>
                  <a:bodyPr/>
                  <a:lstStyle/>
                  <a:p>
                    <a:pPr>
                      <a:defRPr sz="1400" b="1">
                        <a:latin typeface="Arial" pitchFamily="34" charset="0"/>
                        <a:cs typeface="Arial" pitchFamily="34" charset="0"/>
                      </a:defRPr>
                    </a:pPr>
                    <a:r>
                      <a:rPr lang="en-US" b="1" dirty="0" smtClean="0"/>
                      <a:t>258 M</a:t>
                    </a:r>
                    <a:endParaRPr lang="en-US" b="1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>
                    <a:latin typeface="Arial" pitchFamily="34" charset="0"/>
                    <a:cs typeface="Arial" pitchFamily="34" charset="0"/>
                  </a:defRPr>
                </a:pPr>
                <a:endParaRPr lang="pt-P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Folha7!$O$15:$O$16</c:f>
              <c:strCache>
                <c:ptCount val="2"/>
                <c:pt idx="0">
                  <c:v>SI I&amp;DT</c:v>
                </c:pt>
                <c:pt idx="1">
                  <c:v>SAESCTN</c:v>
                </c:pt>
              </c:strCache>
            </c:strRef>
          </c:cat>
          <c:val>
            <c:numRef>
              <c:f>Folha7!$R$15:$R$16</c:f>
              <c:numCache>
                <c:formatCode>General</c:formatCode>
                <c:ptCount val="2"/>
                <c:pt idx="0">
                  <c:v>340</c:v>
                </c:pt>
                <c:pt idx="1">
                  <c:v>25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78025472"/>
        <c:axId val="78027008"/>
        <c:axId val="0"/>
      </c:bar3DChart>
      <c:catAx>
        <c:axId val="78025472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600" b="1">
                <a:latin typeface="Arial" pitchFamily="34" charset="0"/>
                <a:cs typeface="Arial" pitchFamily="34" charset="0"/>
              </a:defRPr>
            </a:pPr>
            <a:endParaRPr lang="pt-PT"/>
          </a:p>
        </c:txPr>
        <c:crossAx val="78027008"/>
        <c:crosses val="autoZero"/>
        <c:auto val="1"/>
        <c:lblAlgn val="ctr"/>
        <c:lblOffset val="100"/>
        <c:noMultiLvlLbl val="0"/>
      </c:catAx>
      <c:valAx>
        <c:axId val="780270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7802547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35659154244674279"/>
          <c:y val="0.17391304347826098"/>
          <c:w val="0.38217642034650667"/>
          <c:h val="7.7756260779133557E-2"/>
        </c:manualLayout>
      </c:layout>
      <c:overlay val="0"/>
      <c:txPr>
        <a:bodyPr/>
        <a:lstStyle/>
        <a:p>
          <a:pPr>
            <a:defRPr sz="1600" b="1">
              <a:latin typeface="Arial" pitchFamily="34" charset="0"/>
              <a:cs typeface="Arial" pitchFamily="34" charset="0"/>
            </a:defRPr>
          </a:pPr>
          <a:endParaRPr lang="pt-PT"/>
        </a:p>
      </c:txPr>
    </c:legend>
    <c:plotVisOnly val="1"/>
    <c:dispBlanksAs val="gap"/>
    <c:showDLblsOverMax val="0"/>
  </c:chart>
  <c:txPr>
    <a:bodyPr/>
    <a:lstStyle/>
    <a:p>
      <a:pPr>
        <a:defRPr>
          <a:solidFill>
            <a:schemeClr val="bg1"/>
          </a:solidFill>
        </a:defRPr>
      </a:pPr>
      <a:endParaRPr lang="pt-PT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284331032632564E-2"/>
          <c:y val="4.6153842659460521E-2"/>
          <c:w val="0.88414094578388625"/>
          <c:h val="0.8669277054112890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</c:v>
                </c:pt>
              </c:strCache>
            </c:strRef>
          </c:tx>
          <c:spPr>
            <a:ln w="12700">
              <a:noFill/>
            </a:ln>
          </c:spPr>
          <c:dPt>
            <c:idx val="0"/>
            <c:bubble3D val="0"/>
            <c:explosion val="1"/>
            <c:spPr>
              <a:solidFill>
                <a:schemeClr val="accent2"/>
              </a:solidFill>
              <a:ln w="12700">
                <a:noFill/>
              </a:ln>
            </c:spPr>
          </c:dPt>
          <c:dPt>
            <c:idx val="1"/>
            <c:bubble3D val="0"/>
            <c:spPr>
              <a:solidFill>
                <a:srgbClr val="739002"/>
              </a:solidFill>
              <a:ln w="12700">
                <a:noFill/>
              </a:ln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328 ME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318 ME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>
                    <a:solidFill>
                      <a:schemeClr val="bg1"/>
                    </a:solidFill>
                  </a:defRPr>
                </a:pPr>
                <a:endParaRPr lang="pt-P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3</c:f>
              <c:strCache>
                <c:ptCount val="2"/>
                <c:pt idx="0">
                  <c:v>A</c:v>
                </c:pt>
                <c:pt idx="1">
                  <c:v>B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28</c:v>
                </c:pt>
                <c:pt idx="1">
                  <c:v>31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200"/>
      </a:pPr>
      <a:endParaRPr lang="pt-PT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6243737033264789"/>
          <c:y val="3.6657629001086219E-2"/>
          <c:w val="0.63488268852447416"/>
          <c:h val="0.8669277054112890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247 M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81 M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  <a:latin typeface="Arial"/>
                  </a:defRPr>
                </a:pPr>
                <a:endParaRPr lang="pt-P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3</c:f>
              <c:strCache>
                <c:ptCount val="2"/>
                <c:pt idx="0">
                  <c:v>Co Promoçao</c:v>
                </c:pt>
                <c:pt idx="1">
                  <c:v>Mobilizadore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47</c:v>
                </c:pt>
                <c:pt idx="1">
                  <c:v>8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6"/>
        <c:overlap val="100"/>
        <c:axId val="79183232"/>
        <c:axId val="79189120"/>
      </c:barChart>
      <c:catAx>
        <c:axId val="79183232"/>
        <c:scaling>
          <c:orientation val="minMax"/>
        </c:scaling>
        <c:delete val="0"/>
        <c:axPos val="l"/>
        <c:majorTickMark val="none"/>
        <c:minorTickMark val="none"/>
        <c:tickLblPos val="nextTo"/>
        <c:spPr>
          <a:ln>
            <a:solidFill>
              <a:schemeClr val="accent1"/>
            </a:solidFill>
          </a:ln>
        </c:spPr>
        <c:txPr>
          <a:bodyPr/>
          <a:lstStyle/>
          <a:p>
            <a:pPr>
              <a:defRPr sz="1600">
                <a:solidFill>
                  <a:schemeClr val="bg1"/>
                </a:solidFill>
                <a:latin typeface="Arial"/>
              </a:defRPr>
            </a:pPr>
            <a:endParaRPr lang="pt-PT"/>
          </a:p>
        </c:txPr>
        <c:crossAx val="79189120"/>
        <c:crosses val="autoZero"/>
        <c:auto val="1"/>
        <c:lblAlgn val="ctr"/>
        <c:lblOffset val="100"/>
        <c:noMultiLvlLbl val="0"/>
      </c:catAx>
      <c:valAx>
        <c:axId val="791891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79183232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200"/>
      </a:pPr>
      <a:endParaRPr lang="pt-PT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115320341499501"/>
          <c:y val="5.6234573445895185E-2"/>
          <c:w val="0.42137498492545633"/>
          <c:h val="0.94376542655410689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388D2B"/>
              </a:solidFill>
            </c:spPr>
          </c:dPt>
          <c:dPt>
            <c:idx val="1"/>
            <c:bubble3D val="0"/>
            <c:spPr>
              <a:solidFill>
                <a:schemeClr val="accent6">
                  <a:lumMod val="50000"/>
                </a:schemeClr>
              </a:solidFill>
              <a:ln>
                <a:noFill/>
              </a:ln>
            </c:spPr>
          </c:dPt>
          <c:dPt>
            <c:idx val="2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</c:spPr>
          </c:dPt>
          <c:dLbls>
            <c:txPr>
              <a:bodyPr/>
              <a:lstStyle/>
              <a:p>
                <a:pPr>
                  <a:defRPr sz="1800">
                    <a:latin typeface="Arial"/>
                    <a:cs typeface="Arial"/>
                  </a:defRPr>
                </a:pPr>
                <a:endParaRPr lang="pt-PT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'[Chart 3 in Microsoft Office PowerPoint]Sheet1'!$A$2:$A$4</c:f>
              <c:strCache>
                <c:ptCount val="3"/>
                <c:pt idx="0">
                  <c:v>Bens Transaccionáveis</c:v>
                </c:pt>
                <c:pt idx="1">
                  <c:v>Serviços Internacionalizáveis</c:v>
                </c:pt>
                <c:pt idx="2">
                  <c:v>Serviços não internacionalizáveis</c:v>
                </c:pt>
              </c:strCache>
            </c:strRef>
          </c:cat>
          <c:val>
            <c:numRef>
              <c:f>'[Chart 3 in Microsoft Office PowerPoint]Sheet1'!$B$2:$B$4</c:f>
              <c:numCache>
                <c:formatCode>_(* #,##0.00_);_(* \(#,##0.00\);_(* "-"??_);_(@_)</c:formatCode>
                <c:ptCount val="3"/>
                <c:pt idx="0">
                  <c:v>214</c:v>
                </c:pt>
                <c:pt idx="1">
                  <c:v>110</c:v>
                </c:pt>
                <c:pt idx="2">
                  <c:v>1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7112764941310377"/>
          <c:y val="6.5690711111167324E-2"/>
          <c:w val="0.27327658055371001"/>
          <c:h val="0.86861826149772503"/>
        </c:manualLayout>
      </c:layout>
      <c:overlay val="0"/>
      <c:txPr>
        <a:bodyPr/>
        <a:lstStyle/>
        <a:p>
          <a:pPr>
            <a:defRPr sz="1600"/>
          </a:pPr>
          <a:endParaRPr lang="pt-PT"/>
        </a:p>
      </c:txPr>
    </c:legend>
    <c:plotVisOnly val="1"/>
    <c:dispBlanksAs val="zero"/>
    <c:showDLblsOverMax val="0"/>
  </c:chart>
  <c:txPr>
    <a:bodyPr/>
    <a:lstStyle/>
    <a:p>
      <a:pPr>
        <a:defRPr>
          <a:solidFill>
            <a:srgbClr val="FFFFFF"/>
          </a:solidFill>
        </a:defRPr>
      </a:pPr>
      <a:endParaRPr lang="pt-PT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305 projetos</a:t>
            </a:r>
          </a:p>
        </c:rich>
      </c:tx>
      <c:layout>
        <c:manualLayout>
          <c:xMode val="edge"/>
          <c:yMode val="edge"/>
          <c:x val="0.21827754761158694"/>
          <c:y val="8.1550030453057087E-2"/>
        </c:manualLayout>
      </c:layout>
      <c:overlay val="0"/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7581989601020724E-2"/>
          <c:y val="0.19434574169777299"/>
          <c:w val="0.53540459312915867"/>
          <c:h val="0.72457772765921524"/>
        </c:manualLayout>
      </c:layout>
      <c:pie3DChart>
        <c:varyColors val="1"/>
        <c:ser>
          <c:idx val="0"/>
          <c:order val="0"/>
          <c:tx>
            <c:strRef>
              <c:f>Folha2!$B$1</c:f>
              <c:strCache>
                <c:ptCount val="1"/>
                <c:pt idx="0">
                  <c:v>Nº Proj.</c:v>
                </c:pt>
              </c:strCache>
            </c:strRef>
          </c:tx>
          <c:dLbls>
            <c:txPr>
              <a:bodyPr/>
              <a:lstStyle/>
              <a:p>
                <a:pPr>
                  <a:defRPr sz="1200" b="1">
                    <a:latin typeface="Arial" pitchFamily="34" charset="0"/>
                    <a:cs typeface="Arial" pitchFamily="34" charset="0"/>
                  </a:defRPr>
                </a:pPr>
                <a:endParaRPr lang="pt-PT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0"/>
          </c:dLbls>
          <c:cat>
            <c:strRef>
              <c:f>Folha2!$A$2:$A$7</c:f>
              <c:strCache>
                <c:ptCount val="6"/>
                <c:pt idx="0">
                  <c:v>Energia e ambiente </c:v>
                </c:pt>
                <c:pt idx="1">
                  <c:v>Informação orientada para PME</c:v>
                </c:pt>
                <c:pt idx="2">
                  <c:v>Inovação e empreendedorismo </c:v>
                </c:pt>
                <c:pt idx="3">
                  <c:v>Internacionalização e valorização de oferta nacional</c:v>
                </c:pt>
                <c:pt idx="4">
                  <c:v>Redes e cooperação empresarial</c:v>
                </c:pt>
                <c:pt idx="5">
                  <c:v>Dinamização de EEC</c:v>
                </c:pt>
              </c:strCache>
            </c:strRef>
          </c:cat>
          <c:val>
            <c:numRef>
              <c:f>Folha2!$B$2:$B$7</c:f>
              <c:numCache>
                <c:formatCode>General</c:formatCode>
                <c:ptCount val="6"/>
                <c:pt idx="0">
                  <c:v>52</c:v>
                </c:pt>
                <c:pt idx="1">
                  <c:v>90</c:v>
                </c:pt>
                <c:pt idx="2">
                  <c:v>46</c:v>
                </c:pt>
                <c:pt idx="3">
                  <c:v>69</c:v>
                </c:pt>
                <c:pt idx="4">
                  <c:v>30</c:v>
                </c:pt>
                <c:pt idx="5">
                  <c:v>18</c:v>
                </c:pt>
              </c:numCache>
            </c:numRef>
          </c:val>
        </c:ser>
        <c:ser>
          <c:idx val="1"/>
          <c:order val="1"/>
          <c:tx>
            <c:strRef>
              <c:f>Folha2!$C$1</c:f>
              <c:strCache>
                <c:ptCount val="1"/>
                <c:pt idx="0">
                  <c:v>INV mil euros</c:v>
                </c:pt>
              </c:strCache>
            </c:strRef>
          </c:tx>
          <c:cat>
            <c:strRef>
              <c:f>Folha2!$A$2:$A$7</c:f>
              <c:strCache>
                <c:ptCount val="6"/>
                <c:pt idx="0">
                  <c:v>Energia e ambiente </c:v>
                </c:pt>
                <c:pt idx="1">
                  <c:v>Informação orientada para PME</c:v>
                </c:pt>
                <c:pt idx="2">
                  <c:v>Inovação e empreendedorismo </c:v>
                </c:pt>
                <c:pt idx="3">
                  <c:v>Internacionalização e valorização de oferta nacional</c:v>
                </c:pt>
                <c:pt idx="4">
                  <c:v>Redes e cooperação empresarial</c:v>
                </c:pt>
                <c:pt idx="5">
                  <c:v>Dinamização de EEC</c:v>
                </c:pt>
              </c:strCache>
            </c:strRef>
          </c:cat>
          <c:val>
            <c:numRef>
              <c:f>Folha2!$C$2:$C$7</c:f>
              <c:numCache>
                <c:formatCode>General</c:formatCode>
                <c:ptCount val="6"/>
                <c:pt idx="0">
                  <c:v>26743.082210000004</c:v>
                </c:pt>
                <c:pt idx="1">
                  <c:v>39049.529129999995</c:v>
                </c:pt>
                <c:pt idx="2">
                  <c:v>27866.340360000006</c:v>
                </c:pt>
                <c:pt idx="3">
                  <c:v>163548.5035799999</c:v>
                </c:pt>
                <c:pt idx="4">
                  <c:v>9131.6100700000025</c:v>
                </c:pt>
                <c:pt idx="5">
                  <c:v>16892.851019999991</c:v>
                </c:pt>
              </c:numCache>
            </c:numRef>
          </c:val>
        </c:ser>
        <c:ser>
          <c:idx val="2"/>
          <c:order val="2"/>
          <c:tx>
            <c:strRef>
              <c:f>Folha2!$D$1</c:f>
              <c:strCache>
                <c:ptCount val="1"/>
                <c:pt idx="0">
                  <c:v>Despesa elegível Mil euros</c:v>
                </c:pt>
              </c:strCache>
            </c:strRef>
          </c:tx>
          <c:cat>
            <c:strRef>
              <c:f>Folha2!$A$2:$A$7</c:f>
              <c:strCache>
                <c:ptCount val="6"/>
                <c:pt idx="0">
                  <c:v>Energia e ambiente </c:v>
                </c:pt>
                <c:pt idx="1">
                  <c:v>Informação orientada para PME</c:v>
                </c:pt>
                <c:pt idx="2">
                  <c:v>Inovação e empreendedorismo </c:v>
                </c:pt>
                <c:pt idx="3">
                  <c:v>Internacionalização e valorização de oferta nacional</c:v>
                </c:pt>
                <c:pt idx="4">
                  <c:v>Redes e cooperação empresarial</c:v>
                </c:pt>
                <c:pt idx="5">
                  <c:v>Dinamização de EEC</c:v>
                </c:pt>
              </c:strCache>
            </c:strRef>
          </c:cat>
          <c:val>
            <c:numRef>
              <c:f>Folha2!$D$2:$D$7</c:f>
              <c:numCache>
                <c:formatCode>General</c:formatCode>
                <c:ptCount val="6"/>
                <c:pt idx="0">
                  <c:v>21041.327530000002</c:v>
                </c:pt>
                <c:pt idx="1">
                  <c:v>32235.872619999991</c:v>
                </c:pt>
                <c:pt idx="2">
                  <c:v>23113.384520000003</c:v>
                </c:pt>
                <c:pt idx="3">
                  <c:v>143967.79879</c:v>
                </c:pt>
                <c:pt idx="4">
                  <c:v>7921.7775499999998</c:v>
                </c:pt>
                <c:pt idx="5">
                  <c:v>15007.589410000002</c:v>
                </c:pt>
              </c:numCache>
            </c:numRef>
          </c:val>
        </c:ser>
        <c:ser>
          <c:idx val="3"/>
          <c:order val="3"/>
          <c:tx>
            <c:strRef>
              <c:f>Folha2!$E$1</c:f>
              <c:strCache>
                <c:ptCount val="1"/>
                <c:pt idx="0">
                  <c:v>INC Mil euros</c:v>
                </c:pt>
              </c:strCache>
            </c:strRef>
          </c:tx>
          <c:cat>
            <c:strRef>
              <c:f>Folha2!$A$2:$A$7</c:f>
              <c:strCache>
                <c:ptCount val="6"/>
                <c:pt idx="0">
                  <c:v>Energia e ambiente </c:v>
                </c:pt>
                <c:pt idx="1">
                  <c:v>Informação orientada para PME</c:v>
                </c:pt>
                <c:pt idx="2">
                  <c:v>Inovação e empreendedorismo </c:v>
                </c:pt>
                <c:pt idx="3">
                  <c:v>Internacionalização e valorização de oferta nacional</c:v>
                </c:pt>
                <c:pt idx="4">
                  <c:v>Redes e cooperação empresarial</c:v>
                </c:pt>
                <c:pt idx="5">
                  <c:v>Dinamização de EEC</c:v>
                </c:pt>
              </c:strCache>
            </c:strRef>
          </c:cat>
          <c:val>
            <c:numRef>
              <c:f>Folha2!$E$2:$E$7</c:f>
              <c:numCache>
                <c:formatCode>General</c:formatCode>
                <c:ptCount val="6"/>
                <c:pt idx="0">
                  <c:v>14937.717940000002</c:v>
                </c:pt>
                <c:pt idx="1">
                  <c:v>22554.532450000002</c:v>
                </c:pt>
                <c:pt idx="2">
                  <c:v>16506.612309999993</c:v>
                </c:pt>
                <c:pt idx="3">
                  <c:v>107300.59872999998</c:v>
                </c:pt>
                <c:pt idx="4">
                  <c:v>5427.6835900000005</c:v>
                </c:pt>
                <c:pt idx="5">
                  <c:v>11255.7168199999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r"/>
      <c:layout>
        <c:manualLayout>
          <c:xMode val="edge"/>
          <c:yMode val="edge"/>
          <c:x val="0.66772074395037051"/>
          <c:y val="4.9858106845002984E-2"/>
          <c:w val="0.33227925604962988"/>
          <c:h val="0.92301949598682953"/>
        </c:manualLayout>
      </c:layout>
      <c:overlay val="0"/>
      <c:txPr>
        <a:bodyPr/>
        <a:lstStyle/>
        <a:p>
          <a:pPr>
            <a:defRPr sz="1100" b="1">
              <a:latin typeface="Arial" pitchFamily="34" charset="0"/>
              <a:cs typeface="Arial" pitchFamily="34" charset="0"/>
            </a:defRPr>
          </a:pPr>
          <a:endParaRPr lang="pt-PT"/>
        </a:p>
      </c:txPr>
    </c:legend>
    <c:plotVisOnly val="1"/>
    <c:dispBlanksAs val="zero"/>
    <c:showDLblsOverMax val="0"/>
  </c:chart>
  <c:txPr>
    <a:bodyPr/>
    <a:lstStyle/>
    <a:p>
      <a:pPr>
        <a:defRPr>
          <a:solidFill>
            <a:schemeClr val="bg1"/>
          </a:solidFill>
        </a:defRPr>
      </a:pPr>
      <a:endParaRPr lang="pt-PT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Distribuição do apoio - 178 milhões de euros</a:t>
            </a:r>
          </a:p>
        </c:rich>
      </c:tx>
      <c:layout>
        <c:manualLayout>
          <c:xMode val="edge"/>
          <c:yMode val="edge"/>
          <c:x val="0.19872352732767903"/>
          <c:y val="8.3945389227889744E-2"/>
        </c:manualLayout>
      </c:layout>
      <c:overlay val="0"/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0545671460488927"/>
          <c:y val="0.24728923593171126"/>
          <c:w val="0.47915041611534098"/>
          <c:h val="0.63126976765194176"/>
        </c:manualLayout>
      </c:layout>
      <c:pie3DChart>
        <c:varyColors val="1"/>
        <c:ser>
          <c:idx val="0"/>
          <c:order val="0"/>
          <c:tx>
            <c:strRef>
              <c:f>Folha2!$E$1</c:f>
              <c:strCache>
                <c:ptCount val="1"/>
                <c:pt idx="0">
                  <c:v>INC Mil euros</c:v>
                </c:pt>
              </c:strCache>
            </c:strRef>
          </c:tx>
          <c:dLbls>
            <c:txPr>
              <a:bodyPr/>
              <a:lstStyle/>
              <a:p>
                <a:pPr>
                  <a:defRPr sz="1200" b="1">
                    <a:latin typeface="Arial" pitchFamily="34" charset="0"/>
                    <a:cs typeface="Arial" pitchFamily="34" charset="0"/>
                  </a:defRPr>
                </a:pPr>
                <a:endParaRPr lang="pt-PT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Folha2!$A$2:$A$7</c:f>
              <c:strCache>
                <c:ptCount val="6"/>
                <c:pt idx="0">
                  <c:v>Energia e ambiente </c:v>
                </c:pt>
                <c:pt idx="1">
                  <c:v>Informação orientada para PME</c:v>
                </c:pt>
                <c:pt idx="2">
                  <c:v>Inovação e empreendedorismo </c:v>
                </c:pt>
                <c:pt idx="3">
                  <c:v>Internacionalização e valorização de oferta nacional</c:v>
                </c:pt>
                <c:pt idx="4">
                  <c:v>Redes e cooperação empresarial</c:v>
                </c:pt>
                <c:pt idx="5">
                  <c:v>Dinamização de EEC</c:v>
                </c:pt>
              </c:strCache>
            </c:strRef>
          </c:cat>
          <c:val>
            <c:numRef>
              <c:f>Folha2!$E$2:$E$7</c:f>
              <c:numCache>
                <c:formatCode>General</c:formatCode>
                <c:ptCount val="6"/>
                <c:pt idx="0">
                  <c:v>14937.717940000002</c:v>
                </c:pt>
                <c:pt idx="1">
                  <c:v>22554.532450000002</c:v>
                </c:pt>
                <c:pt idx="2">
                  <c:v>16506.612309999993</c:v>
                </c:pt>
                <c:pt idx="3">
                  <c:v>107300.59872999998</c:v>
                </c:pt>
                <c:pt idx="4">
                  <c:v>5427.6835900000005</c:v>
                </c:pt>
                <c:pt idx="5">
                  <c:v>11255.7168199999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66366181500039811"/>
          <c:y val="0.22154047500751872"/>
          <c:w val="0.33450163770850971"/>
          <c:h val="0.64079459488638202"/>
        </c:manualLayout>
      </c:layout>
      <c:overlay val="0"/>
      <c:txPr>
        <a:bodyPr/>
        <a:lstStyle/>
        <a:p>
          <a:pPr>
            <a:defRPr sz="1100" b="1">
              <a:latin typeface="Arial" pitchFamily="34" charset="0"/>
              <a:cs typeface="Arial" pitchFamily="34" charset="0"/>
            </a:defRPr>
          </a:pPr>
          <a:endParaRPr lang="pt-PT"/>
        </a:p>
      </c:txPr>
    </c:legend>
    <c:plotVisOnly val="1"/>
    <c:dispBlanksAs val="zero"/>
    <c:showDLblsOverMax val="0"/>
  </c:chart>
  <c:txPr>
    <a:bodyPr/>
    <a:lstStyle/>
    <a:p>
      <a:pPr>
        <a:defRPr>
          <a:solidFill>
            <a:schemeClr val="bg1"/>
          </a:solidFill>
        </a:defRPr>
      </a:pPr>
      <a:endParaRPr lang="pt-PT"/>
    </a:p>
  </c:txPr>
  <c:externalData r:id="rId1">
    <c:autoUpdate val="0"/>
  </c:externalData>
</c:chartSpace>
</file>

<file path=ppt/diagrams/_rels/data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jpeg"/><Relationship Id="rId7" Type="http://schemas.openxmlformats.org/officeDocument/2006/relationships/image" Target="../media/image21.jpeg"/><Relationship Id="rId2" Type="http://schemas.openxmlformats.org/officeDocument/2006/relationships/image" Target="../media/image16.jpeg"/><Relationship Id="rId1" Type="http://schemas.openxmlformats.org/officeDocument/2006/relationships/image" Target="../media/image15.jpeg"/><Relationship Id="rId6" Type="http://schemas.openxmlformats.org/officeDocument/2006/relationships/image" Target="../media/image20.jpeg"/><Relationship Id="rId5" Type="http://schemas.openxmlformats.org/officeDocument/2006/relationships/image" Target="../media/image19.png"/><Relationship Id="rId4" Type="http://schemas.openxmlformats.org/officeDocument/2006/relationships/image" Target="../media/image18.jpe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image" Target="../media/image11.jpeg"/><Relationship Id="rId4" Type="http://schemas.openxmlformats.org/officeDocument/2006/relationships/image" Target="../media/image14.jpeg"/></Relationships>
</file>

<file path=ppt/diagrams/_rels/drawing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jpeg"/><Relationship Id="rId7" Type="http://schemas.openxmlformats.org/officeDocument/2006/relationships/image" Target="../media/image21.jpeg"/><Relationship Id="rId2" Type="http://schemas.openxmlformats.org/officeDocument/2006/relationships/image" Target="../media/image16.jpeg"/><Relationship Id="rId1" Type="http://schemas.openxmlformats.org/officeDocument/2006/relationships/image" Target="../media/image15.jpeg"/><Relationship Id="rId6" Type="http://schemas.openxmlformats.org/officeDocument/2006/relationships/image" Target="../media/image20.jpeg"/><Relationship Id="rId5" Type="http://schemas.openxmlformats.org/officeDocument/2006/relationships/image" Target="../media/image19.png"/><Relationship Id="rId4" Type="http://schemas.openxmlformats.org/officeDocument/2006/relationships/image" Target="../media/image18.jpe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image" Target="../media/image11.jpeg"/><Relationship Id="rId4" Type="http://schemas.openxmlformats.org/officeDocument/2006/relationships/image" Target="../media/image14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#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150E30F-CBE9-2447-A59F-A27E5030B907}" type="doc">
      <dgm:prSet loTypeId="urn:microsoft.com/office/officeart/2005/8/layout/vList6" loCatId="" qsTypeId="urn:microsoft.com/office/officeart/2005/8/quickstyle/simple5" qsCatId="simple" csTypeId="urn:microsoft.com/office/officeart/2005/8/colors/accent1_2#1" csCatId="accent1" phldr="1"/>
      <dgm:spPr/>
      <dgm:t>
        <a:bodyPr/>
        <a:lstStyle/>
        <a:p>
          <a:endParaRPr lang="en-US"/>
        </a:p>
      </dgm:t>
    </dgm:pt>
    <dgm:pt modelId="{E74B37F3-290F-7F4D-86DC-EB7E2387E1DC}">
      <dgm:prSet phldrT="[Text]" custT="1"/>
      <dgm:spPr>
        <a:solidFill>
          <a:srgbClr val="00B050"/>
        </a:solidFill>
      </dgm:spPr>
      <dgm:t>
        <a:bodyPr/>
        <a:lstStyle/>
        <a:p>
          <a:r>
            <a:rPr lang="pt-PT" sz="2000" b="1" noProof="0" dirty="0" smtClean="0">
              <a:latin typeface="Arial"/>
              <a:cs typeface="Arial"/>
            </a:rPr>
            <a:t>Instrumentos de Engenharia Financeira</a:t>
          </a:r>
          <a:endParaRPr lang="pt-PT" sz="2000" b="1" noProof="0" dirty="0">
            <a:latin typeface="Arial"/>
            <a:cs typeface="Arial"/>
          </a:endParaRPr>
        </a:p>
      </dgm:t>
    </dgm:pt>
    <dgm:pt modelId="{ACE703C7-0DC8-1347-B522-B71D5012A80D}" type="parTrans" cxnId="{58D02B3D-02AA-2B46-B7BD-4F68740686C0}">
      <dgm:prSet/>
      <dgm:spPr/>
      <dgm:t>
        <a:bodyPr/>
        <a:lstStyle/>
        <a:p>
          <a:endParaRPr lang="pt-PT" noProof="0"/>
        </a:p>
      </dgm:t>
    </dgm:pt>
    <dgm:pt modelId="{0AEC3DCC-57F9-2C48-907B-165704CCFCC8}" type="sibTrans" cxnId="{58D02B3D-02AA-2B46-B7BD-4F68740686C0}">
      <dgm:prSet/>
      <dgm:spPr/>
      <dgm:t>
        <a:bodyPr/>
        <a:lstStyle/>
        <a:p>
          <a:endParaRPr lang="pt-PT" noProof="0"/>
        </a:p>
      </dgm:t>
    </dgm:pt>
    <dgm:pt modelId="{3360C733-CFA6-FE4B-B3E0-C993DEB79410}">
      <dgm:prSet phldrT="[Text]" custT="1"/>
      <dgm:spPr>
        <a:solidFill>
          <a:schemeClr val="bg1">
            <a:alpha val="90000"/>
          </a:schemeClr>
        </a:solidFill>
      </dgm:spPr>
      <dgm:t>
        <a:bodyPr anchor="ctr" anchorCtr="0"/>
        <a:lstStyle/>
        <a:p>
          <a:pPr marL="360000" algn="l">
            <a:lnSpc>
              <a:spcPts val="3000"/>
            </a:lnSpc>
          </a:pPr>
          <a:r>
            <a:rPr lang="pt-PT" sz="2000" b="1" noProof="0" dirty="0" smtClean="0">
              <a:solidFill>
                <a:schemeClr val="tx1"/>
              </a:solidFill>
              <a:latin typeface="Arial"/>
              <a:cs typeface="Arial"/>
            </a:rPr>
            <a:t>Fundos de Capital de Risco</a:t>
          </a:r>
          <a:endParaRPr lang="pt-PT" sz="2000" b="1" noProof="0" dirty="0">
            <a:solidFill>
              <a:schemeClr val="tx1"/>
            </a:solidFill>
            <a:latin typeface="Arial"/>
            <a:cs typeface="Arial"/>
          </a:endParaRPr>
        </a:p>
      </dgm:t>
    </dgm:pt>
    <dgm:pt modelId="{BB43A413-FD98-584C-A6B9-4FCCE68E3056}" type="parTrans" cxnId="{12717D7E-245F-D645-B0DC-6443EFA65CB5}">
      <dgm:prSet/>
      <dgm:spPr/>
      <dgm:t>
        <a:bodyPr/>
        <a:lstStyle/>
        <a:p>
          <a:endParaRPr lang="pt-PT" noProof="0"/>
        </a:p>
      </dgm:t>
    </dgm:pt>
    <dgm:pt modelId="{3FED3384-AB8D-AA41-8165-431819CEE5F2}" type="sibTrans" cxnId="{12717D7E-245F-D645-B0DC-6443EFA65CB5}">
      <dgm:prSet/>
      <dgm:spPr/>
      <dgm:t>
        <a:bodyPr/>
        <a:lstStyle/>
        <a:p>
          <a:endParaRPr lang="pt-PT" noProof="0"/>
        </a:p>
      </dgm:t>
    </dgm:pt>
    <dgm:pt modelId="{22CBC921-3177-C942-ACA2-1758C5255038}">
      <dgm:prSet phldrT="[Text]" custT="1"/>
      <dgm:spPr>
        <a:solidFill>
          <a:srgbClr val="00B050"/>
        </a:solidFill>
      </dgm:spPr>
      <dgm:t>
        <a:bodyPr/>
        <a:lstStyle/>
        <a:p>
          <a:r>
            <a:rPr lang="pt-PT" sz="2000" b="1" noProof="0" dirty="0" smtClean="0">
              <a:latin typeface="Arial"/>
              <a:cs typeface="Arial"/>
            </a:rPr>
            <a:t>Incentivos Financeiros</a:t>
          </a:r>
          <a:endParaRPr lang="pt-PT" sz="2000" b="1" noProof="0" dirty="0">
            <a:latin typeface="Arial"/>
            <a:cs typeface="Arial"/>
          </a:endParaRPr>
        </a:p>
      </dgm:t>
    </dgm:pt>
    <dgm:pt modelId="{86BC7CAA-C724-CC4A-A8D4-41AF71AB78C8}" type="parTrans" cxnId="{BEF8CB24-D939-AB4F-97E0-1102C60DF3A1}">
      <dgm:prSet/>
      <dgm:spPr/>
      <dgm:t>
        <a:bodyPr/>
        <a:lstStyle/>
        <a:p>
          <a:endParaRPr lang="pt-PT" noProof="0"/>
        </a:p>
      </dgm:t>
    </dgm:pt>
    <dgm:pt modelId="{11F64AAE-BBE5-F74A-9C08-DB58FAA02590}" type="sibTrans" cxnId="{BEF8CB24-D939-AB4F-97E0-1102C60DF3A1}">
      <dgm:prSet/>
      <dgm:spPr/>
      <dgm:t>
        <a:bodyPr/>
        <a:lstStyle/>
        <a:p>
          <a:endParaRPr lang="pt-PT" noProof="0"/>
        </a:p>
      </dgm:t>
    </dgm:pt>
    <dgm:pt modelId="{F319E99D-1558-1645-94F1-FEC382B4588C}">
      <dgm:prSet phldrT="[Text]" custT="1"/>
      <dgm:spPr>
        <a:solidFill>
          <a:schemeClr val="bg1">
            <a:alpha val="90000"/>
          </a:schemeClr>
        </a:solidFill>
      </dgm:spPr>
      <dgm:t>
        <a:bodyPr anchor="ctr" anchorCtr="0"/>
        <a:lstStyle/>
        <a:p>
          <a:pPr marL="352800">
            <a:lnSpc>
              <a:spcPct val="100000"/>
            </a:lnSpc>
            <a:spcBef>
              <a:spcPts val="0"/>
            </a:spcBef>
          </a:pPr>
          <a:r>
            <a:rPr lang="pt-PT" sz="2000" b="1" noProof="0" dirty="0" smtClean="0">
              <a:latin typeface="Arial"/>
              <a:cs typeface="Arial"/>
            </a:rPr>
            <a:t>Vale Empreendedorismo</a:t>
          </a:r>
          <a:endParaRPr lang="pt-PT" sz="2000" b="1" noProof="0" dirty="0">
            <a:latin typeface="Arial"/>
            <a:cs typeface="Arial"/>
          </a:endParaRPr>
        </a:p>
      </dgm:t>
    </dgm:pt>
    <dgm:pt modelId="{67CE68A7-042D-5A40-91EC-9B1BE5099110}" type="parTrans" cxnId="{ED6E0DB9-74AA-4B4B-8D06-6D6AD2331ACE}">
      <dgm:prSet/>
      <dgm:spPr/>
      <dgm:t>
        <a:bodyPr/>
        <a:lstStyle/>
        <a:p>
          <a:endParaRPr lang="pt-PT" noProof="0"/>
        </a:p>
      </dgm:t>
    </dgm:pt>
    <dgm:pt modelId="{89FDB774-2674-924F-B215-29EB0A69CBC1}" type="sibTrans" cxnId="{ED6E0DB9-74AA-4B4B-8D06-6D6AD2331ACE}">
      <dgm:prSet/>
      <dgm:spPr/>
      <dgm:t>
        <a:bodyPr/>
        <a:lstStyle/>
        <a:p>
          <a:endParaRPr lang="pt-PT" noProof="0"/>
        </a:p>
      </dgm:t>
    </dgm:pt>
    <dgm:pt modelId="{0DBA7052-39E0-456D-8783-0D9601D82E5C}">
      <dgm:prSet phldrT="[Text]" custT="1"/>
      <dgm:spPr>
        <a:solidFill>
          <a:schemeClr val="bg1">
            <a:alpha val="90000"/>
          </a:schemeClr>
        </a:solidFill>
      </dgm:spPr>
      <dgm:t>
        <a:bodyPr anchor="ctr" anchorCtr="0"/>
        <a:lstStyle/>
        <a:p>
          <a:pPr marL="360000" algn="l">
            <a:lnSpc>
              <a:spcPts val="3000"/>
            </a:lnSpc>
          </a:pPr>
          <a:r>
            <a:rPr lang="pt-PT" sz="2000" b="1" noProof="0" dirty="0" smtClean="0">
              <a:solidFill>
                <a:schemeClr val="tx1"/>
              </a:solidFill>
              <a:latin typeface="Arial"/>
              <a:cs typeface="Arial"/>
            </a:rPr>
            <a:t>Programa de apoio a </a:t>
          </a:r>
          <a:r>
            <a:rPr lang="pt-PT" sz="2000" b="1" i="1" noProof="0" dirty="0" smtClean="0">
              <a:solidFill>
                <a:schemeClr val="tx1"/>
              </a:solidFill>
              <a:latin typeface="Arial"/>
              <a:cs typeface="Arial"/>
            </a:rPr>
            <a:t>Business Angels</a:t>
          </a:r>
          <a:endParaRPr lang="pt-PT" sz="2000" b="1" i="1" noProof="0" dirty="0">
            <a:solidFill>
              <a:schemeClr val="tx1"/>
            </a:solidFill>
            <a:latin typeface="Arial"/>
            <a:cs typeface="Arial"/>
          </a:endParaRPr>
        </a:p>
      </dgm:t>
    </dgm:pt>
    <dgm:pt modelId="{AC8AD191-933B-4720-A25E-FEACD70FD7A8}" type="parTrans" cxnId="{EBBC7A5B-2245-4A53-9296-C4D7B2291F29}">
      <dgm:prSet/>
      <dgm:spPr/>
      <dgm:t>
        <a:bodyPr/>
        <a:lstStyle/>
        <a:p>
          <a:endParaRPr lang="pt-PT"/>
        </a:p>
      </dgm:t>
    </dgm:pt>
    <dgm:pt modelId="{54C0A48D-0997-4378-B588-9A077D5F5D0A}" type="sibTrans" cxnId="{EBBC7A5B-2245-4A53-9296-C4D7B2291F29}">
      <dgm:prSet/>
      <dgm:spPr/>
      <dgm:t>
        <a:bodyPr/>
        <a:lstStyle/>
        <a:p>
          <a:endParaRPr lang="pt-PT"/>
        </a:p>
      </dgm:t>
    </dgm:pt>
    <dgm:pt modelId="{71FB8307-676A-2C40-8509-689418F2AF9B}" type="pres">
      <dgm:prSet presAssocID="{1150E30F-CBE9-2447-A59F-A27E5030B907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pt-PT"/>
        </a:p>
      </dgm:t>
    </dgm:pt>
    <dgm:pt modelId="{96184A2A-4171-0442-9BF6-BF80E28EAEAC}" type="pres">
      <dgm:prSet presAssocID="{E74B37F3-290F-7F4D-86DC-EB7E2387E1DC}" presName="linNode" presStyleCnt="0"/>
      <dgm:spPr/>
    </dgm:pt>
    <dgm:pt modelId="{A898D999-A8A0-4A44-87FB-4479EAD2AEE9}" type="pres">
      <dgm:prSet presAssocID="{E74B37F3-290F-7F4D-86DC-EB7E2387E1DC}" presName="parentShp" presStyleLbl="node1" presStyleIdx="0" presStyleCnt="2" custScaleX="69955" custScaleY="37657" custLinFactNeighborX="-667" custLinFactNeighborY="-78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28AFB0C-43D1-EC4A-8054-651C134F31A1}" type="pres">
      <dgm:prSet presAssocID="{E74B37F3-290F-7F4D-86DC-EB7E2387E1DC}" presName="childShp" presStyleLbl="bgAccFollowNode1" presStyleIdx="0" presStyleCnt="2" custScaleX="113685" custScaleY="31710" custLinFactNeighborX="3598" custLinFactNeighborY="-782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US"/>
        </a:p>
      </dgm:t>
    </dgm:pt>
    <dgm:pt modelId="{D68A59DA-C8FC-4C48-9E51-5E02BA34F16A}" type="pres">
      <dgm:prSet presAssocID="{0AEC3DCC-57F9-2C48-907B-165704CCFCC8}" presName="spacing" presStyleCnt="0"/>
      <dgm:spPr/>
    </dgm:pt>
    <dgm:pt modelId="{97334A84-20EA-6F4E-9CAC-73FFD8CD80AD}" type="pres">
      <dgm:prSet presAssocID="{22CBC921-3177-C942-ACA2-1758C5255038}" presName="linNode" presStyleCnt="0"/>
      <dgm:spPr/>
    </dgm:pt>
    <dgm:pt modelId="{6AAC80AE-A69B-1F43-8746-F71D4120E1AA}" type="pres">
      <dgm:prSet presAssocID="{22CBC921-3177-C942-ACA2-1758C5255038}" presName="parentShp" presStyleLbl="node1" presStyleIdx="1" presStyleCnt="2" custScaleX="69123" custScaleY="37708" custLinFactNeighborX="-404" custLinFactNeighborY="-4161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678ECAC8-0087-D14B-8C01-830FE6B711E3}" type="pres">
      <dgm:prSet presAssocID="{22CBC921-3177-C942-ACA2-1758C5255038}" presName="childShp" presStyleLbl="bgAccFollowNode1" presStyleIdx="1" presStyleCnt="2" custScaleX="113479" custScaleY="34155" custLinFactNeighborX="3859" custLinFactNeighborY="-4045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US"/>
        </a:p>
      </dgm:t>
    </dgm:pt>
  </dgm:ptLst>
  <dgm:cxnLst>
    <dgm:cxn modelId="{A5F40D45-121B-42A7-B7FD-FA830B6490B3}" type="presOf" srcId="{22CBC921-3177-C942-ACA2-1758C5255038}" destId="{6AAC80AE-A69B-1F43-8746-F71D4120E1AA}" srcOrd="0" destOrd="0" presId="urn:microsoft.com/office/officeart/2005/8/layout/vList6"/>
    <dgm:cxn modelId="{297F9EB5-A697-4E3B-B1BD-DB803FC518F9}" type="presOf" srcId="{F319E99D-1558-1645-94F1-FEC382B4588C}" destId="{678ECAC8-0087-D14B-8C01-830FE6B711E3}" srcOrd="0" destOrd="0" presId="urn:microsoft.com/office/officeart/2005/8/layout/vList6"/>
    <dgm:cxn modelId="{5722E5CC-2506-4DEF-A7CD-BE9DEB9B2023}" type="presOf" srcId="{0DBA7052-39E0-456D-8783-0D9601D82E5C}" destId="{D28AFB0C-43D1-EC4A-8054-651C134F31A1}" srcOrd="0" destOrd="1" presId="urn:microsoft.com/office/officeart/2005/8/layout/vList6"/>
    <dgm:cxn modelId="{BEF8CB24-D939-AB4F-97E0-1102C60DF3A1}" srcId="{1150E30F-CBE9-2447-A59F-A27E5030B907}" destId="{22CBC921-3177-C942-ACA2-1758C5255038}" srcOrd="1" destOrd="0" parTransId="{86BC7CAA-C724-CC4A-A8D4-41AF71AB78C8}" sibTransId="{11F64AAE-BBE5-F74A-9C08-DB58FAA02590}"/>
    <dgm:cxn modelId="{EBBC7A5B-2245-4A53-9296-C4D7B2291F29}" srcId="{E74B37F3-290F-7F4D-86DC-EB7E2387E1DC}" destId="{0DBA7052-39E0-456D-8783-0D9601D82E5C}" srcOrd="1" destOrd="0" parTransId="{AC8AD191-933B-4720-A25E-FEACD70FD7A8}" sibTransId="{54C0A48D-0997-4378-B588-9A077D5F5D0A}"/>
    <dgm:cxn modelId="{12717D7E-245F-D645-B0DC-6443EFA65CB5}" srcId="{E74B37F3-290F-7F4D-86DC-EB7E2387E1DC}" destId="{3360C733-CFA6-FE4B-B3E0-C993DEB79410}" srcOrd="0" destOrd="0" parTransId="{BB43A413-FD98-584C-A6B9-4FCCE68E3056}" sibTransId="{3FED3384-AB8D-AA41-8165-431819CEE5F2}"/>
    <dgm:cxn modelId="{58D02B3D-02AA-2B46-B7BD-4F68740686C0}" srcId="{1150E30F-CBE9-2447-A59F-A27E5030B907}" destId="{E74B37F3-290F-7F4D-86DC-EB7E2387E1DC}" srcOrd="0" destOrd="0" parTransId="{ACE703C7-0DC8-1347-B522-B71D5012A80D}" sibTransId="{0AEC3DCC-57F9-2C48-907B-165704CCFCC8}"/>
    <dgm:cxn modelId="{12936883-4F52-4ECB-B9DF-09A7CD40F979}" type="presOf" srcId="{E74B37F3-290F-7F4D-86DC-EB7E2387E1DC}" destId="{A898D999-A8A0-4A44-87FB-4479EAD2AEE9}" srcOrd="0" destOrd="0" presId="urn:microsoft.com/office/officeart/2005/8/layout/vList6"/>
    <dgm:cxn modelId="{F8185B49-4E84-4C4B-9CEE-C8EFD5FD9E9D}" type="presOf" srcId="{3360C733-CFA6-FE4B-B3E0-C993DEB79410}" destId="{D28AFB0C-43D1-EC4A-8054-651C134F31A1}" srcOrd="0" destOrd="0" presId="urn:microsoft.com/office/officeart/2005/8/layout/vList6"/>
    <dgm:cxn modelId="{ED6E0DB9-74AA-4B4B-8D06-6D6AD2331ACE}" srcId="{22CBC921-3177-C942-ACA2-1758C5255038}" destId="{F319E99D-1558-1645-94F1-FEC382B4588C}" srcOrd="0" destOrd="0" parTransId="{67CE68A7-042D-5A40-91EC-9B1BE5099110}" sibTransId="{89FDB774-2674-924F-B215-29EB0A69CBC1}"/>
    <dgm:cxn modelId="{1F7FA3E9-1546-4E78-872F-770064DF2A62}" type="presOf" srcId="{1150E30F-CBE9-2447-A59F-A27E5030B907}" destId="{71FB8307-676A-2C40-8509-689418F2AF9B}" srcOrd="0" destOrd="0" presId="urn:microsoft.com/office/officeart/2005/8/layout/vList6"/>
    <dgm:cxn modelId="{F5E68272-486D-49BC-B97D-198DA030BFB3}" type="presParOf" srcId="{71FB8307-676A-2C40-8509-689418F2AF9B}" destId="{96184A2A-4171-0442-9BF6-BF80E28EAEAC}" srcOrd="0" destOrd="0" presId="urn:microsoft.com/office/officeart/2005/8/layout/vList6"/>
    <dgm:cxn modelId="{58C9E791-227D-4DBF-A3F3-B850D3E5DBD5}" type="presParOf" srcId="{96184A2A-4171-0442-9BF6-BF80E28EAEAC}" destId="{A898D999-A8A0-4A44-87FB-4479EAD2AEE9}" srcOrd="0" destOrd="0" presId="urn:microsoft.com/office/officeart/2005/8/layout/vList6"/>
    <dgm:cxn modelId="{78C1B98B-4A51-4BA9-A609-1D369E82AD4C}" type="presParOf" srcId="{96184A2A-4171-0442-9BF6-BF80E28EAEAC}" destId="{D28AFB0C-43D1-EC4A-8054-651C134F31A1}" srcOrd="1" destOrd="0" presId="urn:microsoft.com/office/officeart/2005/8/layout/vList6"/>
    <dgm:cxn modelId="{E9D7380C-6429-408D-864D-2DCDFA26E335}" type="presParOf" srcId="{71FB8307-676A-2C40-8509-689418F2AF9B}" destId="{D68A59DA-C8FC-4C48-9E51-5E02BA34F16A}" srcOrd="1" destOrd="0" presId="urn:microsoft.com/office/officeart/2005/8/layout/vList6"/>
    <dgm:cxn modelId="{53A2834C-77AE-4886-90EC-4B76EB09411D}" type="presParOf" srcId="{71FB8307-676A-2C40-8509-689418F2AF9B}" destId="{97334A84-20EA-6F4E-9CAC-73FFD8CD80AD}" srcOrd="2" destOrd="0" presId="urn:microsoft.com/office/officeart/2005/8/layout/vList6"/>
    <dgm:cxn modelId="{892B8337-50A8-4250-BE7E-005F5654CEFA}" type="presParOf" srcId="{97334A84-20EA-6F4E-9CAC-73FFD8CD80AD}" destId="{6AAC80AE-A69B-1F43-8746-F71D4120E1AA}" srcOrd="0" destOrd="0" presId="urn:microsoft.com/office/officeart/2005/8/layout/vList6"/>
    <dgm:cxn modelId="{2E391653-4F87-4A6D-9891-7BE0365582F8}" type="presParOf" srcId="{97334A84-20EA-6F4E-9CAC-73FFD8CD80AD}" destId="{678ECAC8-0087-D14B-8C01-830FE6B711E3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E14FBBEF-D893-4C04-87FC-BA9AED97A429}" type="doc">
      <dgm:prSet loTypeId="urn:microsoft.com/office/officeart/2005/8/layout/process4" loCatId="list" qsTypeId="urn:microsoft.com/office/officeart/2005/8/quickstyle/simple1#7" qsCatId="simple" csTypeId="urn:microsoft.com/office/officeart/2005/8/colors/accent2_5" csCatId="accent2" phldr="1"/>
      <dgm:spPr/>
      <dgm:t>
        <a:bodyPr/>
        <a:lstStyle/>
        <a:p>
          <a:endParaRPr lang="pt-PT"/>
        </a:p>
      </dgm:t>
    </dgm:pt>
    <dgm:pt modelId="{4585E753-D177-4E4F-9B06-181B48C7BA83}">
      <dgm:prSet custT="1"/>
      <dgm:spPr/>
      <dgm:t>
        <a:bodyPr/>
        <a:lstStyle/>
        <a:p>
          <a:pPr algn="l"/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Candidaturas abertas em continuo até 5 de setembro 2013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0859D9C3-D577-4526-9789-F13262209745}" type="parTrans" cxnId="{098FAD07-0472-4230-8B5E-7BEB0E181992}">
      <dgm:prSet/>
      <dgm:spPr/>
      <dgm:t>
        <a:bodyPr/>
        <a:lstStyle/>
        <a:p>
          <a:endParaRPr lang="pt-PT"/>
        </a:p>
      </dgm:t>
    </dgm:pt>
    <dgm:pt modelId="{38CF8666-F6FE-485A-98E8-B3229386D4B1}" type="sibTrans" cxnId="{098FAD07-0472-4230-8B5E-7BEB0E181992}">
      <dgm:prSet/>
      <dgm:spPr/>
      <dgm:t>
        <a:bodyPr/>
        <a:lstStyle/>
        <a:p>
          <a:endParaRPr lang="pt-PT"/>
        </a:p>
      </dgm:t>
    </dgm:pt>
    <dgm:pt modelId="{B0140155-4EF7-42EE-BBE6-B058F5727C79}">
      <dgm:prSet custT="1"/>
      <dgm:spPr/>
      <dgm:t>
        <a:bodyPr/>
        <a:lstStyle/>
        <a:p>
          <a:r>
            <a:rPr lang="pt-PT" sz="2000" b="1" kern="1200" dirty="0" smtClean="0">
              <a:latin typeface="Arial" pitchFamily="34" charset="0"/>
              <a:cs typeface="Arial" pitchFamily="34" charset="0"/>
            </a:rPr>
            <a:t>AAC n.º 12/SI/2012 – INOVAÇÃO PRODUTIVA</a:t>
          </a:r>
          <a:endParaRPr lang="pt-PT" sz="2000" b="1" kern="1200" dirty="0">
            <a:solidFill>
              <a:schemeClr val="bg1"/>
            </a:solidFill>
            <a:latin typeface="Arial" pitchFamily="34" charset="0"/>
            <a:ea typeface="Geneva" charset="0"/>
            <a:cs typeface="Arial" pitchFamily="34" charset="0"/>
          </a:endParaRPr>
        </a:p>
      </dgm:t>
    </dgm:pt>
    <dgm:pt modelId="{CE8D7880-81D9-4EF0-BC8D-AF04D693E543}" type="parTrans" cxnId="{F691E520-FDEF-4190-A4D3-2DC674C575A7}">
      <dgm:prSet/>
      <dgm:spPr/>
      <dgm:t>
        <a:bodyPr/>
        <a:lstStyle/>
        <a:p>
          <a:endParaRPr lang="pt-PT"/>
        </a:p>
      </dgm:t>
    </dgm:pt>
    <dgm:pt modelId="{2A9A68A8-ACE5-4D8B-8AA9-26BC457776CF}" type="sibTrans" cxnId="{F691E520-FDEF-4190-A4D3-2DC674C575A7}">
      <dgm:prSet/>
      <dgm:spPr/>
      <dgm:t>
        <a:bodyPr/>
        <a:lstStyle/>
        <a:p>
          <a:endParaRPr lang="pt-PT"/>
        </a:p>
      </dgm:t>
    </dgm:pt>
    <dgm:pt modelId="{E099C35B-83F6-4C50-AB46-7A4BAFB55ADF}">
      <dgm:prSet custT="1"/>
      <dgm:spPr/>
      <dgm:t>
        <a:bodyPr/>
        <a:lstStyle/>
        <a:p>
          <a:r>
            <a:rPr lang="pt-PT" sz="2000" b="1" kern="1200" dirty="0" smtClean="0">
              <a:latin typeface="Arial" pitchFamily="34" charset="0"/>
              <a:cs typeface="Arial" pitchFamily="34" charset="0"/>
            </a:rPr>
            <a:t>AAC n.º 13/SI/2012 –  EMPREENDEDORISMO</a:t>
          </a:r>
          <a:endParaRPr lang="pt-PT" sz="2000" kern="1200" dirty="0">
            <a:latin typeface="Arial" pitchFamily="34" charset="0"/>
            <a:cs typeface="Arial" pitchFamily="34" charset="0"/>
          </a:endParaRPr>
        </a:p>
      </dgm:t>
    </dgm:pt>
    <dgm:pt modelId="{F618ABE4-2707-4524-BC4D-52E693D2643B}" type="parTrans" cxnId="{9F55E3F1-C838-4042-9BA0-BF5CD07D42D2}">
      <dgm:prSet/>
      <dgm:spPr/>
      <dgm:t>
        <a:bodyPr/>
        <a:lstStyle/>
        <a:p>
          <a:endParaRPr lang="pt-PT"/>
        </a:p>
      </dgm:t>
    </dgm:pt>
    <dgm:pt modelId="{5D119D81-9513-4ABE-99E6-3824F53401EA}" type="sibTrans" cxnId="{9F55E3F1-C838-4042-9BA0-BF5CD07D42D2}">
      <dgm:prSet/>
      <dgm:spPr/>
      <dgm:t>
        <a:bodyPr/>
        <a:lstStyle/>
        <a:p>
          <a:endParaRPr lang="pt-PT"/>
        </a:p>
      </dgm:t>
    </dgm:pt>
    <dgm:pt modelId="{5BAC368F-E2E3-47BF-9856-3A69675D65D4}">
      <dgm:prSet custT="1"/>
      <dgm:spPr/>
      <dgm:t>
        <a:bodyPr/>
        <a:lstStyle/>
        <a:p>
          <a:pPr algn="l"/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Dotação 145 M€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B3E8A012-F7BE-4FEF-9501-8D8706BCD6BA}" type="parTrans" cxnId="{16E666E9-6FC2-4C89-9B55-DDF8113E660F}">
      <dgm:prSet/>
      <dgm:spPr/>
      <dgm:t>
        <a:bodyPr/>
        <a:lstStyle/>
        <a:p>
          <a:endParaRPr lang="pt-PT"/>
        </a:p>
      </dgm:t>
    </dgm:pt>
    <dgm:pt modelId="{AFDC6F23-28A5-4EB6-A667-817F59818652}" type="sibTrans" cxnId="{16E666E9-6FC2-4C89-9B55-DDF8113E660F}">
      <dgm:prSet/>
      <dgm:spPr/>
      <dgm:t>
        <a:bodyPr/>
        <a:lstStyle/>
        <a:p>
          <a:endParaRPr lang="pt-PT"/>
        </a:p>
      </dgm:t>
    </dgm:pt>
    <dgm:pt modelId="{3ECCBDB5-97E3-491D-B71B-6605A8CB4CB9}">
      <dgm:prSet custT="1"/>
      <dgm:spPr/>
      <dgm:t>
        <a:bodyPr/>
        <a:lstStyle/>
        <a:p>
          <a:pPr algn="l"/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Candidaturas abertas em continuo até 5 de setembro 2013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5CD6191F-6047-487F-848F-C1D479979274}" type="parTrans" cxnId="{925876A4-0649-4F7F-87A8-CA0675D8CCBF}">
      <dgm:prSet/>
      <dgm:spPr/>
      <dgm:t>
        <a:bodyPr/>
        <a:lstStyle/>
        <a:p>
          <a:endParaRPr lang="pt-PT"/>
        </a:p>
      </dgm:t>
    </dgm:pt>
    <dgm:pt modelId="{33EE3124-B985-4046-AB48-4948A4F73912}" type="sibTrans" cxnId="{925876A4-0649-4F7F-87A8-CA0675D8CCBF}">
      <dgm:prSet/>
      <dgm:spPr/>
      <dgm:t>
        <a:bodyPr/>
        <a:lstStyle/>
        <a:p>
          <a:endParaRPr lang="pt-PT"/>
        </a:p>
      </dgm:t>
    </dgm:pt>
    <dgm:pt modelId="{054AC40D-52BE-40EB-94B9-8FE7BA4C7750}">
      <dgm:prSet custT="1"/>
      <dgm:spPr/>
      <dgm:t>
        <a:bodyPr/>
        <a:lstStyle/>
        <a:p>
          <a:pPr algn="l"/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Dotação 5 M€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17348FBA-B838-4317-B5EE-55EA84F01FD4}" type="parTrans" cxnId="{9E8EA19E-40B2-4DB2-B8D4-BB5F4B470A2E}">
      <dgm:prSet/>
      <dgm:spPr/>
      <dgm:t>
        <a:bodyPr/>
        <a:lstStyle/>
        <a:p>
          <a:endParaRPr lang="pt-PT"/>
        </a:p>
      </dgm:t>
    </dgm:pt>
    <dgm:pt modelId="{4CC450BF-601B-4E49-9144-5E78E555AA0B}" type="sibTrans" cxnId="{9E8EA19E-40B2-4DB2-B8D4-BB5F4B470A2E}">
      <dgm:prSet/>
      <dgm:spPr/>
      <dgm:t>
        <a:bodyPr/>
        <a:lstStyle/>
        <a:p>
          <a:endParaRPr lang="pt-PT"/>
        </a:p>
      </dgm:t>
    </dgm:pt>
    <dgm:pt modelId="{A9E24AA0-3A85-4443-9DD4-F3A061D84A2E}" type="pres">
      <dgm:prSet presAssocID="{E14FBBEF-D893-4C04-87FC-BA9AED97A429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E3DEDE6D-6B7B-41DD-B7E9-EDE31BF60671}" type="pres">
      <dgm:prSet presAssocID="{E099C35B-83F6-4C50-AB46-7A4BAFB55ADF}" presName="boxAndChildren" presStyleCnt="0"/>
      <dgm:spPr/>
    </dgm:pt>
    <dgm:pt modelId="{70B2A322-187D-4E8A-9013-08D5747549F5}" type="pres">
      <dgm:prSet presAssocID="{E099C35B-83F6-4C50-AB46-7A4BAFB55ADF}" presName="parentTextBox" presStyleLbl="node1" presStyleIdx="0" presStyleCnt="2"/>
      <dgm:spPr/>
      <dgm:t>
        <a:bodyPr/>
        <a:lstStyle/>
        <a:p>
          <a:endParaRPr lang="pt-PT"/>
        </a:p>
      </dgm:t>
    </dgm:pt>
    <dgm:pt modelId="{9871C366-20A4-44EE-8962-F20FA5412BF2}" type="pres">
      <dgm:prSet presAssocID="{E099C35B-83F6-4C50-AB46-7A4BAFB55ADF}" presName="entireBox" presStyleLbl="node1" presStyleIdx="0" presStyleCnt="2"/>
      <dgm:spPr/>
      <dgm:t>
        <a:bodyPr/>
        <a:lstStyle/>
        <a:p>
          <a:endParaRPr lang="pt-PT"/>
        </a:p>
      </dgm:t>
    </dgm:pt>
    <dgm:pt modelId="{109950E5-DE36-47D4-84EC-D09BFA69FBCD}" type="pres">
      <dgm:prSet presAssocID="{E099C35B-83F6-4C50-AB46-7A4BAFB55ADF}" presName="descendantBox" presStyleCnt="0"/>
      <dgm:spPr/>
    </dgm:pt>
    <dgm:pt modelId="{BB4D5A74-D993-4B31-A758-E15AAE07CE05}" type="pres">
      <dgm:prSet presAssocID="{3ECCBDB5-97E3-491D-B71B-6605A8CB4CB9}" presName="childTextBox" presStyleLbl="f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5CA96736-1350-4E6F-9975-14A711177624}" type="pres">
      <dgm:prSet presAssocID="{054AC40D-52BE-40EB-94B9-8FE7BA4C7750}" presName="childTextBox" presStyleLbl="f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4D434610-6786-4764-8A3D-20D461588090}" type="pres">
      <dgm:prSet presAssocID="{2A9A68A8-ACE5-4D8B-8AA9-26BC457776CF}" presName="sp" presStyleCnt="0"/>
      <dgm:spPr/>
    </dgm:pt>
    <dgm:pt modelId="{845B2C31-7C26-4C5B-BFFD-F9620F5819C3}" type="pres">
      <dgm:prSet presAssocID="{B0140155-4EF7-42EE-BBE6-B058F5727C79}" presName="arrowAndChildren" presStyleCnt="0"/>
      <dgm:spPr/>
    </dgm:pt>
    <dgm:pt modelId="{ED84177C-033C-46AD-AA68-CE35B72F1D14}" type="pres">
      <dgm:prSet presAssocID="{B0140155-4EF7-42EE-BBE6-B058F5727C79}" presName="parentTextArrow" presStyleLbl="node1" presStyleIdx="0" presStyleCnt="2"/>
      <dgm:spPr/>
      <dgm:t>
        <a:bodyPr/>
        <a:lstStyle/>
        <a:p>
          <a:endParaRPr lang="pt-PT"/>
        </a:p>
      </dgm:t>
    </dgm:pt>
    <dgm:pt modelId="{4AAF87A0-6923-4BDA-82DE-F8104BFF4876}" type="pres">
      <dgm:prSet presAssocID="{B0140155-4EF7-42EE-BBE6-B058F5727C79}" presName="arrow" presStyleLbl="node1" presStyleIdx="1" presStyleCnt="2"/>
      <dgm:spPr/>
      <dgm:t>
        <a:bodyPr/>
        <a:lstStyle/>
        <a:p>
          <a:endParaRPr lang="pt-PT"/>
        </a:p>
      </dgm:t>
    </dgm:pt>
    <dgm:pt modelId="{C720B33B-8F45-4EAD-B852-314BF9FC13DC}" type="pres">
      <dgm:prSet presAssocID="{B0140155-4EF7-42EE-BBE6-B058F5727C79}" presName="descendantArrow" presStyleCnt="0"/>
      <dgm:spPr/>
    </dgm:pt>
    <dgm:pt modelId="{3A4F8883-93A3-4F11-85AF-0F023E6925F0}" type="pres">
      <dgm:prSet presAssocID="{4585E753-D177-4E4F-9B06-181B48C7BA83}" presName="childTextArrow" presStyleLbl="f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5E8814F0-C10A-4CEF-B3DA-F42359A608C7}" type="pres">
      <dgm:prSet presAssocID="{5BAC368F-E2E3-47BF-9856-3A69675D65D4}" presName="childTextArrow" presStyleLbl="f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9E8EA19E-40B2-4DB2-B8D4-BB5F4B470A2E}" srcId="{E099C35B-83F6-4C50-AB46-7A4BAFB55ADF}" destId="{054AC40D-52BE-40EB-94B9-8FE7BA4C7750}" srcOrd="1" destOrd="0" parTransId="{17348FBA-B838-4317-B5EE-55EA84F01FD4}" sibTransId="{4CC450BF-601B-4E49-9144-5E78E555AA0B}"/>
    <dgm:cxn modelId="{C3D7B24D-0F0F-43CC-A9B0-EA38DAD47AD6}" type="presOf" srcId="{E099C35B-83F6-4C50-AB46-7A4BAFB55ADF}" destId="{9871C366-20A4-44EE-8962-F20FA5412BF2}" srcOrd="1" destOrd="0" presId="urn:microsoft.com/office/officeart/2005/8/layout/process4"/>
    <dgm:cxn modelId="{925876A4-0649-4F7F-87A8-CA0675D8CCBF}" srcId="{E099C35B-83F6-4C50-AB46-7A4BAFB55ADF}" destId="{3ECCBDB5-97E3-491D-B71B-6605A8CB4CB9}" srcOrd="0" destOrd="0" parTransId="{5CD6191F-6047-487F-848F-C1D479979274}" sibTransId="{33EE3124-B985-4046-AB48-4948A4F73912}"/>
    <dgm:cxn modelId="{9F55E3F1-C838-4042-9BA0-BF5CD07D42D2}" srcId="{E14FBBEF-D893-4C04-87FC-BA9AED97A429}" destId="{E099C35B-83F6-4C50-AB46-7A4BAFB55ADF}" srcOrd="1" destOrd="0" parTransId="{F618ABE4-2707-4524-BC4D-52E693D2643B}" sibTransId="{5D119D81-9513-4ABE-99E6-3824F53401EA}"/>
    <dgm:cxn modelId="{A917AC49-3742-4318-85D6-C2C454C70439}" type="presOf" srcId="{5BAC368F-E2E3-47BF-9856-3A69675D65D4}" destId="{5E8814F0-C10A-4CEF-B3DA-F42359A608C7}" srcOrd="0" destOrd="0" presId="urn:microsoft.com/office/officeart/2005/8/layout/process4"/>
    <dgm:cxn modelId="{6E27BD2F-02EC-44AD-A6B5-10DB56E728F9}" type="presOf" srcId="{E099C35B-83F6-4C50-AB46-7A4BAFB55ADF}" destId="{70B2A322-187D-4E8A-9013-08D5747549F5}" srcOrd="0" destOrd="0" presId="urn:microsoft.com/office/officeart/2005/8/layout/process4"/>
    <dgm:cxn modelId="{41913ED7-2238-4D4C-80F1-8248A6E177B2}" type="presOf" srcId="{054AC40D-52BE-40EB-94B9-8FE7BA4C7750}" destId="{5CA96736-1350-4E6F-9975-14A711177624}" srcOrd="0" destOrd="0" presId="urn:microsoft.com/office/officeart/2005/8/layout/process4"/>
    <dgm:cxn modelId="{3B8F74A2-290B-40DD-89BB-3E5E3366ECD1}" type="presOf" srcId="{4585E753-D177-4E4F-9B06-181B48C7BA83}" destId="{3A4F8883-93A3-4F11-85AF-0F023E6925F0}" srcOrd="0" destOrd="0" presId="urn:microsoft.com/office/officeart/2005/8/layout/process4"/>
    <dgm:cxn modelId="{098FAD07-0472-4230-8B5E-7BEB0E181992}" srcId="{B0140155-4EF7-42EE-BBE6-B058F5727C79}" destId="{4585E753-D177-4E4F-9B06-181B48C7BA83}" srcOrd="0" destOrd="0" parTransId="{0859D9C3-D577-4526-9789-F13262209745}" sibTransId="{38CF8666-F6FE-485A-98E8-B3229386D4B1}"/>
    <dgm:cxn modelId="{F691E520-FDEF-4190-A4D3-2DC674C575A7}" srcId="{E14FBBEF-D893-4C04-87FC-BA9AED97A429}" destId="{B0140155-4EF7-42EE-BBE6-B058F5727C79}" srcOrd="0" destOrd="0" parTransId="{CE8D7880-81D9-4EF0-BC8D-AF04D693E543}" sibTransId="{2A9A68A8-ACE5-4D8B-8AA9-26BC457776CF}"/>
    <dgm:cxn modelId="{DD2B090F-49BD-4344-B0CC-EFBF470A35DA}" type="presOf" srcId="{B0140155-4EF7-42EE-BBE6-B058F5727C79}" destId="{4AAF87A0-6923-4BDA-82DE-F8104BFF4876}" srcOrd="1" destOrd="0" presId="urn:microsoft.com/office/officeart/2005/8/layout/process4"/>
    <dgm:cxn modelId="{7848918C-CE13-4463-AB6E-2C48D0C9C89E}" type="presOf" srcId="{3ECCBDB5-97E3-491D-B71B-6605A8CB4CB9}" destId="{BB4D5A74-D993-4B31-A758-E15AAE07CE05}" srcOrd="0" destOrd="0" presId="urn:microsoft.com/office/officeart/2005/8/layout/process4"/>
    <dgm:cxn modelId="{1776B8F8-DEEF-4FE2-A099-42D2F50C5297}" type="presOf" srcId="{B0140155-4EF7-42EE-BBE6-B058F5727C79}" destId="{ED84177C-033C-46AD-AA68-CE35B72F1D14}" srcOrd="0" destOrd="0" presId="urn:microsoft.com/office/officeart/2005/8/layout/process4"/>
    <dgm:cxn modelId="{558C7910-8EB6-49AD-9C0E-D1D357FB2C68}" type="presOf" srcId="{E14FBBEF-D893-4C04-87FC-BA9AED97A429}" destId="{A9E24AA0-3A85-4443-9DD4-F3A061D84A2E}" srcOrd="0" destOrd="0" presId="urn:microsoft.com/office/officeart/2005/8/layout/process4"/>
    <dgm:cxn modelId="{16E666E9-6FC2-4C89-9B55-DDF8113E660F}" srcId="{B0140155-4EF7-42EE-BBE6-B058F5727C79}" destId="{5BAC368F-E2E3-47BF-9856-3A69675D65D4}" srcOrd="1" destOrd="0" parTransId="{B3E8A012-F7BE-4FEF-9501-8D8706BCD6BA}" sibTransId="{AFDC6F23-28A5-4EB6-A667-817F59818652}"/>
    <dgm:cxn modelId="{31D46554-6616-497D-BEBD-FE90CA8161E0}" type="presParOf" srcId="{A9E24AA0-3A85-4443-9DD4-F3A061D84A2E}" destId="{E3DEDE6D-6B7B-41DD-B7E9-EDE31BF60671}" srcOrd="0" destOrd="0" presId="urn:microsoft.com/office/officeart/2005/8/layout/process4"/>
    <dgm:cxn modelId="{497AF2DD-CB45-4555-B709-FA8443DB5973}" type="presParOf" srcId="{E3DEDE6D-6B7B-41DD-B7E9-EDE31BF60671}" destId="{70B2A322-187D-4E8A-9013-08D5747549F5}" srcOrd="0" destOrd="0" presId="urn:microsoft.com/office/officeart/2005/8/layout/process4"/>
    <dgm:cxn modelId="{25E12624-AE52-48D8-BBF3-03CE95EB727A}" type="presParOf" srcId="{E3DEDE6D-6B7B-41DD-B7E9-EDE31BF60671}" destId="{9871C366-20A4-44EE-8962-F20FA5412BF2}" srcOrd="1" destOrd="0" presId="urn:microsoft.com/office/officeart/2005/8/layout/process4"/>
    <dgm:cxn modelId="{F7CA22C9-0D9C-4362-BFB3-2EB4A9F68E44}" type="presParOf" srcId="{E3DEDE6D-6B7B-41DD-B7E9-EDE31BF60671}" destId="{109950E5-DE36-47D4-84EC-D09BFA69FBCD}" srcOrd="2" destOrd="0" presId="urn:microsoft.com/office/officeart/2005/8/layout/process4"/>
    <dgm:cxn modelId="{95206879-F41C-4BFF-BB46-A2BB36B0A09D}" type="presParOf" srcId="{109950E5-DE36-47D4-84EC-D09BFA69FBCD}" destId="{BB4D5A74-D993-4B31-A758-E15AAE07CE05}" srcOrd="0" destOrd="0" presId="urn:microsoft.com/office/officeart/2005/8/layout/process4"/>
    <dgm:cxn modelId="{68E558C3-94CD-47AE-9494-58CA2541445A}" type="presParOf" srcId="{109950E5-DE36-47D4-84EC-D09BFA69FBCD}" destId="{5CA96736-1350-4E6F-9975-14A711177624}" srcOrd="1" destOrd="0" presId="urn:microsoft.com/office/officeart/2005/8/layout/process4"/>
    <dgm:cxn modelId="{201263D7-314A-4BC8-991A-8323D7FB0D9D}" type="presParOf" srcId="{A9E24AA0-3A85-4443-9DD4-F3A061D84A2E}" destId="{4D434610-6786-4764-8A3D-20D461588090}" srcOrd="1" destOrd="0" presId="urn:microsoft.com/office/officeart/2005/8/layout/process4"/>
    <dgm:cxn modelId="{7B4C000B-D7F4-41A7-8734-A6C2EF0F9F03}" type="presParOf" srcId="{A9E24AA0-3A85-4443-9DD4-F3A061D84A2E}" destId="{845B2C31-7C26-4C5B-BFFD-F9620F5819C3}" srcOrd="2" destOrd="0" presId="urn:microsoft.com/office/officeart/2005/8/layout/process4"/>
    <dgm:cxn modelId="{938EDD14-CD10-416E-9061-B1B41A45FF38}" type="presParOf" srcId="{845B2C31-7C26-4C5B-BFFD-F9620F5819C3}" destId="{ED84177C-033C-46AD-AA68-CE35B72F1D14}" srcOrd="0" destOrd="0" presId="urn:microsoft.com/office/officeart/2005/8/layout/process4"/>
    <dgm:cxn modelId="{3B698FB5-65C6-4059-AE3A-CAE649715948}" type="presParOf" srcId="{845B2C31-7C26-4C5B-BFFD-F9620F5819C3}" destId="{4AAF87A0-6923-4BDA-82DE-F8104BFF4876}" srcOrd="1" destOrd="0" presId="urn:microsoft.com/office/officeart/2005/8/layout/process4"/>
    <dgm:cxn modelId="{825736F4-A898-40F5-9A83-88296C053170}" type="presParOf" srcId="{845B2C31-7C26-4C5B-BFFD-F9620F5819C3}" destId="{C720B33B-8F45-4EAD-B852-314BF9FC13DC}" srcOrd="2" destOrd="0" presId="urn:microsoft.com/office/officeart/2005/8/layout/process4"/>
    <dgm:cxn modelId="{C389180C-3896-4B1C-9CD8-E2B8970D2FB5}" type="presParOf" srcId="{C720B33B-8F45-4EAD-B852-314BF9FC13DC}" destId="{3A4F8883-93A3-4F11-85AF-0F023E6925F0}" srcOrd="0" destOrd="0" presId="urn:microsoft.com/office/officeart/2005/8/layout/process4"/>
    <dgm:cxn modelId="{1AB76025-3237-446C-812C-61E85737530E}" type="presParOf" srcId="{C720B33B-8F45-4EAD-B852-314BF9FC13DC}" destId="{5E8814F0-C10A-4CEF-B3DA-F42359A608C7}" srcOrd="1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E14FBBEF-D893-4C04-87FC-BA9AED97A429}" type="doc">
      <dgm:prSet loTypeId="urn:microsoft.com/office/officeart/2005/8/layout/vList3" loCatId="list" qsTypeId="urn:microsoft.com/office/officeart/2005/8/quickstyle/simple1#8" qsCatId="simple" csTypeId="urn:microsoft.com/office/officeart/2005/8/colors/accent2_5" csCatId="accent2" phldr="1"/>
      <dgm:spPr/>
      <dgm:t>
        <a:bodyPr/>
        <a:lstStyle/>
        <a:p>
          <a:endParaRPr lang="pt-PT"/>
        </a:p>
      </dgm:t>
    </dgm:pt>
    <dgm:pt modelId="{DFFDF4C8-23F7-4F20-86DA-248B8916FB58}">
      <dgm:prSet custT="1"/>
      <dgm:spPr/>
      <dgm:t>
        <a:bodyPr/>
        <a:lstStyle/>
        <a:p>
          <a:pPr rtl="0"/>
          <a:r>
            <a:rPr lang="pt-PT" sz="1800" dirty="0" smtClean="0">
              <a:latin typeface="Arial" pitchFamily="34" charset="0"/>
              <a:cs typeface="Arial" pitchFamily="34" charset="0"/>
            </a:rPr>
            <a:t>Internacionalização</a:t>
          </a:r>
          <a:endParaRPr lang="pt-PT" sz="1800" dirty="0">
            <a:latin typeface="Arial" pitchFamily="34" charset="0"/>
            <a:cs typeface="Arial" pitchFamily="34" charset="0"/>
          </a:endParaRPr>
        </a:p>
      </dgm:t>
    </dgm:pt>
    <dgm:pt modelId="{89068833-AD98-41DB-90CA-CB0B4ADEE1E6}" type="parTrans" cxnId="{F3137057-2754-4666-ADFE-7B607173C0DE}">
      <dgm:prSet/>
      <dgm:spPr/>
      <dgm:t>
        <a:bodyPr/>
        <a:lstStyle/>
        <a:p>
          <a:endParaRPr lang="pt-PT"/>
        </a:p>
      </dgm:t>
    </dgm:pt>
    <dgm:pt modelId="{AF6F0C43-060D-4F58-85C9-24117D5CBADE}" type="sibTrans" cxnId="{F3137057-2754-4666-ADFE-7B607173C0DE}">
      <dgm:prSet/>
      <dgm:spPr/>
      <dgm:t>
        <a:bodyPr/>
        <a:lstStyle/>
        <a:p>
          <a:endParaRPr lang="pt-PT"/>
        </a:p>
      </dgm:t>
    </dgm:pt>
    <dgm:pt modelId="{7C5E9939-189E-4F2F-86DE-72994597630E}">
      <dgm:prSet custT="1"/>
      <dgm:spPr/>
      <dgm:t>
        <a:bodyPr/>
        <a:lstStyle/>
        <a:p>
          <a:pPr rtl="0"/>
          <a:r>
            <a:rPr lang="pt-PT" sz="1800" dirty="0" smtClean="0">
              <a:latin typeface="Arial" pitchFamily="34" charset="0"/>
              <a:cs typeface="Arial" pitchFamily="34" charset="0"/>
            </a:rPr>
            <a:t>Organização e gestão e TIC</a:t>
          </a:r>
          <a:endParaRPr lang="pt-PT" sz="1800" dirty="0">
            <a:latin typeface="Arial" pitchFamily="34" charset="0"/>
            <a:cs typeface="Arial" pitchFamily="34" charset="0"/>
          </a:endParaRPr>
        </a:p>
      </dgm:t>
    </dgm:pt>
    <dgm:pt modelId="{BB7DECF9-CBB0-41CD-8306-C599ADEFCD9D}" type="parTrans" cxnId="{6C6279C2-98F7-4289-ADE1-2D851B0124F5}">
      <dgm:prSet/>
      <dgm:spPr/>
      <dgm:t>
        <a:bodyPr/>
        <a:lstStyle/>
        <a:p>
          <a:endParaRPr lang="pt-PT"/>
        </a:p>
      </dgm:t>
    </dgm:pt>
    <dgm:pt modelId="{0B908EBE-9E30-4923-9F8A-1C3B3B21B54C}" type="sibTrans" cxnId="{6C6279C2-98F7-4289-ADE1-2D851B0124F5}">
      <dgm:prSet/>
      <dgm:spPr/>
      <dgm:t>
        <a:bodyPr/>
        <a:lstStyle/>
        <a:p>
          <a:endParaRPr lang="pt-PT"/>
        </a:p>
      </dgm:t>
    </dgm:pt>
    <dgm:pt modelId="{AE49CA6D-4FEC-4588-9D32-38131C3DF3AF}">
      <dgm:prSet custT="1"/>
      <dgm:spPr/>
      <dgm:t>
        <a:bodyPr/>
        <a:lstStyle/>
        <a:p>
          <a:pPr rtl="0"/>
          <a:r>
            <a:rPr lang="pt-PT" sz="1800" dirty="0" smtClean="0">
              <a:latin typeface="Arial" pitchFamily="34" charset="0"/>
              <a:cs typeface="Arial" pitchFamily="34" charset="0"/>
            </a:rPr>
            <a:t>Qualidade</a:t>
          </a:r>
          <a:endParaRPr lang="pt-PT" sz="1800" dirty="0">
            <a:latin typeface="Arial" pitchFamily="34" charset="0"/>
            <a:cs typeface="Arial" pitchFamily="34" charset="0"/>
          </a:endParaRPr>
        </a:p>
      </dgm:t>
    </dgm:pt>
    <dgm:pt modelId="{FCF4BB40-2AB6-4FA1-9A29-EEDB8A1EC97D}" type="parTrans" cxnId="{40396AD3-2DFE-40FB-8C51-DFC5F4445689}">
      <dgm:prSet/>
      <dgm:spPr/>
      <dgm:t>
        <a:bodyPr/>
        <a:lstStyle/>
        <a:p>
          <a:endParaRPr lang="pt-PT"/>
        </a:p>
      </dgm:t>
    </dgm:pt>
    <dgm:pt modelId="{C9A11A51-4BCA-4024-995F-0A1F4B985B82}" type="sibTrans" cxnId="{40396AD3-2DFE-40FB-8C51-DFC5F4445689}">
      <dgm:prSet/>
      <dgm:spPr/>
      <dgm:t>
        <a:bodyPr/>
        <a:lstStyle/>
        <a:p>
          <a:endParaRPr lang="pt-PT"/>
        </a:p>
      </dgm:t>
    </dgm:pt>
    <dgm:pt modelId="{80786AC8-642F-43CF-8BAE-19D287141249}">
      <dgm:prSet custT="1"/>
      <dgm:spPr/>
      <dgm:t>
        <a:bodyPr/>
        <a:lstStyle/>
        <a:p>
          <a:r>
            <a:rPr lang="pt-PT" sz="1800" dirty="0" smtClean="0">
              <a:latin typeface="Arial" pitchFamily="34" charset="0"/>
              <a:cs typeface="Arial" pitchFamily="34" charset="0"/>
            </a:rPr>
            <a:t>Eficiência energética e ambiental</a:t>
          </a:r>
          <a:endParaRPr lang="pt-PT" sz="1800" dirty="0">
            <a:latin typeface="Arial" pitchFamily="34" charset="0"/>
            <a:cs typeface="Arial" pitchFamily="34" charset="0"/>
          </a:endParaRPr>
        </a:p>
      </dgm:t>
    </dgm:pt>
    <dgm:pt modelId="{0CFEEFE2-4BCC-4D34-9918-4365A5F4175D}" type="parTrans" cxnId="{50ED34A2-B9DF-415C-BC22-13377C919E1A}">
      <dgm:prSet/>
      <dgm:spPr/>
      <dgm:t>
        <a:bodyPr/>
        <a:lstStyle/>
        <a:p>
          <a:endParaRPr lang="pt-PT"/>
        </a:p>
      </dgm:t>
    </dgm:pt>
    <dgm:pt modelId="{FC71F4DA-2FF0-40A4-B52E-A1EFFF076A48}" type="sibTrans" cxnId="{50ED34A2-B9DF-415C-BC22-13377C919E1A}">
      <dgm:prSet/>
      <dgm:spPr/>
      <dgm:t>
        <a:bodyPr/>
        <a:lstStyle/>
        <a:p>
          <a:endParaRPr lang="pt-PT"/>
        </a:p>
      </dgm:t>
    </dgm:pt>
    <dgm:pt modelId="{6581EFD5-33D0-45D4-A27F-6B359C489333}">
      <dgm:prSet custT="1"/>
      <dgm:spPr/>
      <dgm:t>
        <a:bodyPr/>
        <a:lstStyle/>
        <a:p>
          <a:r>
            <a:rPr lang="pt-PT" sz="1800" dirty="0" smtClean="0">
              <a:latin typeface="Arial" pitchFamily="34" charset="0"/>
              <a:cs typeface="Arial" pitchFamily="34" charset="0"/>
            </a:rPr>
            <a:t>Inovação</a:t>
          </a:r>
          <a:endParaRPr lang="pt-PT" sz="1800" dirty="0">
            <a:latin typeface="Arial" pitchFamily="34" charset="0"/>
            <a:cs typeface="Arial" pitchFamily="34" charset="0"/>
          </a:endParaRPr>
        </a:p>
      </dgm:t>
    </dgm:pt>
    <dgm:pt modelId="{66CA9E94-0E1E-4C9C-A05D-D71A71B71B94}" type="parTrans" cxnId="{7AC37C92-43AF-4F45-B898-959CF461FDF5}">
      <dgm:prSet/>
      <dgm:spPr/>
      <dgm:t>
        <a:bodyPr/>
        <a:lstStyle/>
        <a:p>
          <a:endParaRPr lang="pt-PT"/>
        </a:p>
      </dgm:t>
    </dgm:pt>
    <dgm:pt modelId="{AF877C83-9E3E-41EF-BC9E-E96C48773BEB}" type="sibTrans" cxnId="{7AC37C92-43AF-4F45-B898-959CF461FDF5}">
      <dgm:prSet/>
      <dgm:spPr/>
      <dgm:t>
        <a:bodyPr/>
        <a:lstStyle/>
        <a:p>
          <a:endParaRPr lang="pt-PT"/>
        </a:p>
      </dgm:t>
    </dgm:pt>
    <dgm:pt modelId="{03FD127C-5FE1-43BA-A67F-1EB9610A3348}">
      <dgm:prSet custT="1"/>
      <dgm:spPr/>
      <dgm:t>
        <a:bodyPr/>
        <a:lstStyle/>
        <a:p>
          <a:r>
            <a:rPr lang="pt-PT" sz="1800" dirty="0" smtClean="0">
              <a:latin typeface="Arial" pitchFamily="34" charset="0"/>
              <a:cs typeface="Arial" pitchFamily="34" charset="0"/>
            </a:rPr>
            <a:t>Propriedade industrial</a:t>
          </a:r>
          <a:endParaRPr lang="pt-PT" sz="1800" dirty="0">
            <a:latin typeface="Arial" pitchFamily="34" charset="0"/>
            <a:cs typeface="Arial" pitchFamily="34" charset="0"/>
          </a:endParaRPr>
        </a:p>
      </dgm:t>
    </dgm:pt>
    <dgm:pt modelId="{C11463D1-20A4-45ED-9A03-7B7FFB32414D}" type="parTrans" cxnId="{56D77C80-0873-46A3-9478-89A4370752FE}">
      <dgm:prSet/>
      <dgm:spPr/>
      <dgm:t>
        <a:bodyPr/>
        <a:lstStyle/>
        <a:p>
          <a:endParaRPr lang="pt-PT"/>
        </a:p>
      </dgm:t>
    </dgm:pt>
    <dgm:pt modelId="{240B623B-1E02-4FA9-BBF1-A280F60A8E5A}" type="sibTrans" cxnId="{56D77C80-0873-46A3-9478-89A4370752FE}">
      <dgm:prSet/>
      <dgm:spPr/>
      <dgm:t>
        <a:bodyPr/>
        <a:lstStyle/>
        <a:p>
          <a:endParaRPr lang="pt-PT"/>
        </a:p>
      </dgm:t>
    </dgm:pt>
    <dgm:pt modelId="{D824579A-D057-4FB8-AF24-147083A20EEA}">
      <dgm:prSet custT="1"/>
      <dgm:spPr/>
      <dgm:t>
        <a:bodyPr/>
        <a:lstStyle/>
        <a:p>
          <a:r>
            <a:rPr lang="pt-PT" sz="1800" dirty="0" smtClean="0">
              <a:latin typeface="Arial" pitchFamily="34" charset="0"/>
              <a:cs typeface="Arial" pitchFamily="34" charset="0"/>
            </a:rPr>
            <a:t>Economia digital</a:t>
          </a:r>
          <a:endParaRPr lang="pt-PT" sz="1800" dirty="0">
            <a:latin typeface="Arial" pitchFamily="34" charset="0"/>
            <a:cs typeface="Arial" pitchFamily="34" charset="0"/>
          </a:endParaRPr>
        </a:p>
      </dgm:t>
    </dgm:pt>
    <dgm:pt modelId="{A18F6D26-9F5E-49D3-8103-7276BDE64EDF}" type="parTrans" cxnId="{68ED3CFD-7875-4669-948C-F42531FB26C3}">
      <dgm:prSet/>
      <dgm:spPr/>
      <dgm:t>
        <a:bodyPr/>
        <a:lstStyle/>
        <a:p>
          <a:endParaRPr lang="pt-PT"/>
        </a:p>
      </dgm:t>
    </dgm:pt>
    <dgm:pt modelId="{3E1E2CCA-21B8-455C-95C1-83CA3E95ADC4}" type="sibTrans" cxnId="{68ED3CFD-7875-4669-948C-F42531FB26C3}">
      <dgm:prSet/>
      <dgm:spPr/>
      <dgm:t>
        <a:bodyPr/>
        <a:lstStyle/>
        <a:p>
          <a:endParaRPr lang="pt-PT"/>
        </a:p>
      </dgm:t>
    </dgm:pt>
    <dgm:pt modelId="{E9785CAE-E9AC-46DF-9086-673733499CC4}">
      <dgm:prSet custT="1"/>
      <dgm:spPr/>
      <dgm:t>
        <a:bodyPr/>
        <a:lstStyle/>
        <a:p>
          <a:pPr rtl="0"/>
          <a:r>
            <a:rPr lang="pt-PT" sz="1800" dirty="0" smtClean="0">
              <a:latin typeface="Arial" pitchFamily="34" charset="0"/>
              <a:cs typeface="Arial" pitchFamily="34" charset="0"/>
            </a:rPr>
            <a:t>Criação moda e design</a:t>
          </a:r>
          <a:endParaRPr lang="pt-PT" sz="1800" dirty="0">
            <a:latin typeface="Arial" pitchFamily="34" charset="0"/>
            <a:cs typeface="Arial" pitchFamily="34" charset="0"/>
          </a:endParaRPr>
        </a:p>
      </dgm:t>
    </dgm:pt>
    <dgm:pt modelId="{72516EAD-1D25-49D3-8CBD-5B0A5F1B14C3}" type="sibTrans" cxnId="{95FC42F5-1390-44D9-95D3-3BE111812981}">
      <dgm:prSet/>
      <dgm:spPr/>
      <dgm:t>
        <a:bodyPr/>
        <a:lstStyle/>
        <a:p>
          <a:endParaRPr lang="pt-PT"/>
        </a:p>
      </dgm:t>
    </dgm:pt>
    <dgm:pt modelId="{A383A50C-787A-418E-AF5F-D64A1BCC7C82}" type="parTrans" cxnId="{95FC42F5-1390-44D9-95D3-3BE111812981}">
      <dgm:prSet/>
      <dgm:spPr/>
      <dgm:t>
        <a:bodyPr/>
        <a:lstStyle/>
        <a:p>
          <a:endParaRPr lang="pt-PT"/>
        </a:p>
      </dgm:t>
    </dgm:pt>
    <dgm:pt modelId="{85062476-6BE6-4D31-A001-0B217235215B}" type="pres">
      <dgm:prSet presAssocID="{E14FBBEF-D893-4C04-87FC-BA9AED97A429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5A4F3CCB-3FE8-4A9A-BF1C-7F5E93D72ED3}" type="pres">
      <dgm:prSet presAssocID="{DFFDF4C8-23F7-4F20-86DA-248B8916FB58}" presName="composite" presStyleCnt="0"/>
      <dgm:spPr/>
    </dgm:pt>
    <dgm:pt modelId="{B1DB9E8F-71BB-43D7-BD71-3A62B9D30DFA}" type="pres">
      <dgm:prSet presAssocID="{DFFDF4C8-23F7-4F20-86DA-248B8916FB58}" presName="imgShp" presStyleLbl="fgImgPlace1" presStyleIdx="0" presStyleCnt="8"/>
      <dgm:spPr>
        <a:blipFill>
          <a:blip xmlns:r="http://schemas.openxmlformats.org/officeDocument/2006/relationships" r:embed="rId1">
            <a:duotone>
              <a:schemeClr val="accent2">
                <a:alpha val="90000"/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accent2">
                <a:alpha val="90000"/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  <a:extLst/>
          </a:blip>
          <a:srcRect/>
          <a:stretch>
            <a:fillRect l="-17000" r="-17000"/>
          </a:stretch>
        </a:blipFill>
      </dgm:spPr>
      <dgm:t>
        <a:bodyPr/>
        <a:lstStyle/>
        <a:p>
          <a:endParaRPr lang="pt-PT"/>
        </a:p>
      </dgm:t>
    </dgm:pt>
    <dgm:pt modelId="{95EF2368-90DD-4335-9337-5A8FA448E961}" type="pres">
      <dgm:prSet presAssocID="{DFFDF4C8-23F7-4F20-86DA-248B8916FB58}" presName="txShp" presStyleLbl="node1" presStyleIdx="0" presStyleCnt="8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2880A9E2-A60C-42B5-97CC-10E92BC030D8}" type="pres">
      <dgm:prSet presAssocID="{AF6F0C43-060D-4F58-85C9-24117D5CBADE}" presName="spacing" presStyleCnt="0"/>
      <dgm:spPr/>
    </dgm:pt>
    <dgm:pt modelId="{DA60C787-BB1C-45DF-9F1B-5C7E3F43C987}" type="pres">
      <dgm:prSet presAssocID="{AE49CA6D-4FEC-4588-9D32-38131C3DF3AF}" presName="composite" presStyleCnt="0"/>
      <dgm:spPr/>
    </dgm:pt>
    <dgm:pt modelId="{8D0DD409-29D4-4191-B515-1AC588C8ED8B}" type="pres">
      <dgm:prSet presAssocID="{AE49CA6D-4FEC-4588-9D32-38131C3DF3AF}" presName="imgShp" presStyleLbl="fgImgPlace1" presStyleIdx="1" presStyleCnt="8"/>
      <dgm:spPr>
        <a:blipFill>
          <a:blip xmlns:r="http://schemas.openxmlformats.org/officeDocument/2006/relationships" r:embed="rId2">
            <a:duotone>
              <a:schemeClr val="accent2">
                <a:alpha val="90000"/>
                <a:hueOff val="-544"/>
                <a:satOff val="-390"/>
                <a:lumOff val="1599"/>
                <a:alphaOff val="-5714"/>
                <a:shade val="20000"/>
                <a:satMod val="200000"/>
              </a:schemeClr>
              <a:schemeClr val="accent2">
                <a:alpha val="90000"/>
                <a:hueOff val="-544"/>
                <a:satOff val="-390"/>
                <a:lumOff val="1599"/>
                <a:alphaOff val="-5714"/>
                <a:tint val="12000"/>
                <a:satMod val="190000"/>
              </a:schemeClr>
            </a:duotone>
            <a:extLst/>
          </a:blip>
          <a:srcRect/>
          <a:stretch>
            <a:fillRect t="-3000" b="-3000"/>
          </a:stretch>
        </a:blipFill>
      </dgm:spPr>
      <dgm:t>
        <a:bodyPr/>
        <a:lstStyle/>
        <a:p>
          <a:endParaRPr lang="pt-PT"/>
        </a:p>
      </dgm:t>
    </dgm:pt>
    <dgm:pt modelId="{E746AB28-4F99-43A9-8268-EF711E647482}" type="pres">
      <dgm:prSet presAssocID="{AE49CA6D-4FEC-4588-9D32-38131C3DF3AF}" presName="txShp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2BBB6A2F-0CEB-4A69-802A-8A68A4D48AC9}" type="pres">
      <dgm:prSet presAssocID="{C9A11A51-4BCA-4024-995F-0A1F4B985B82}" presName="spacing" presStyleCnt="0"/>
      <dgm:spPr/>
    </dgm:pt>
    <dgm:pt modelId="{28A80362-5339-4448-9C93-8EF0ED4DFDDA}" type="pres">
      <dgm:prSet presAssocID="{80786AC8-642F-43CF-8BAE-19D287141249}" presName="composite" presStyleCnt="0"/>
      <dgm:spPr/>
    </dgm:pt>
    <dgm:pt modelId="{67951A5A-7447-4986-9761-FEE1F5173833}" type="pres">
      <dgm:prSet presAssocID="{80786AC8-642F-43CF-8BAE-19D287141249}" presName="imgShp" presStyleLbl="fgImgPlace1" presStyleIdx="2" presStyleCnt="8"/>
      <dgm:spPr>
        <a:blipFill>
          <a:blip xmlns:r="http://schemas.openxmlformats.org/officeDocument/2006/relationships" r:embed="rId3">
            <a:duotone>
              <a:schemeClr val="accent2">
                <a:alpha val="90000"/>
                <a:hueOff val="-1088"/>
                <a:satOff val="-780"/>
                <a:lumOff val="3197"/>
                <a:alphaOff val="-11429"/>
                <a:shade val="20000"/>
                <a:satMod val="200000"/>
              </a:schemeClr>
              <a:schemeClr val="accent2">
                <a:alpha val="90000"/>
                <a:hueOff val="-1088"/>
                <a:satOff val="-780"/>
                <a:lumOff val="3197"/>
                <a:alphaOff val="-11429"/>
                <a:tint val="12000"/>
                <a:satMod val="190000"/>
              </a:schemeClr>
            </a:duotone>
            <a:extLst/>
          </a:blip>
          <a:srcRect/>
          <a:stretch>
            <a:fillRect l="-14000" r="-14000"/>
          </a:stretch>
        </a:blipFill>
      </dgm:spPr>
      <dgm:t>
        <a:bodyPr/>
        <a:lstStyle/>
        <a:p>
          <a:endParaRPr lang="pt-PT"/>
        </a:p>
      </dgm:t>
    </dgm:pt>
    <dgm:pt modelId="{7524A4D9-A9E5-48D9-AB0F-F97ED9BE725A}" type="pres">
      <dgm:prSet presAssocID="{80786AC8-642F-43CF-8BAE-19D287141249}" presName="txShp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83B549AA-21E9-43FE-A6EC-331079CE22AD}" type="pres">
      <dgm:prSet presAssocID="{FC71F4DA-2FF0-40A4-B52E-A1EFFF076A48}" presName="spacing" presStyleCnt="0"/>
      <dgm:spPr/>
    </dgm:pt>
    <dgm:pt modelId="{63D455F6-4EE1-48EE-840E-C947C3D8E1DE}" type="pres">
      <dgm:prSet presAssocID="{6581EFD5-33D0-45D4-A27F-6B359C489333}" presName="composite" presStyleCnt="0"/>
      <dgm:spPr/>
    </dgm:pt>
    <dgm:pt modelId="{A1C19BA3-3AE5-40FB-B41C-04179BAA683D}" type="pres">
      <dgm:prSet presAssocID="{6581EFD5-33D0-45D4-A27F-6B359C489333}" presName="imgShp" presStyleLbl="fgImgPlace1" presStyleIdx="3" presStyleCnt="8"/>
      <dgm:spPr>
        <a:blipFill>
          <a:blip xmlns:r="http://schemas.openxmlformats.org/officeDocument/2006/relationships" r:embed="rId4">
            <a:duotone>
              <a:schemeClr val="accent2">
                <a:alpha val="90000"/>
                <a:hueOff val="-1632"/>
                <a:satOff val="-1170"/>
                <a:lumOff val="4796"/>
                <a:alphaOff val="-17143"/>
                <a:shade val="20000"/>
                <a:satMod val="200000"/>
              </a:schemeClr>
              <a:schemeClr val="accent2">
                <a:alpha val="90000"/>
                <a:hueOff val="-1632"/>
                <a:satOff val="-1170"/>
                <a:lumOff val="4796"/>
                <a:alphaOff val="-17143"/>
                <a:tint val="12000"/>
                <a:satMod val="190000"/>
              </a:schemeClr>
            </a:duotone>
            <a:extLst/>
          </a:blip>
          <a:srcRect/>
          <a:stretch>
            <a:fillRect l="-17000" r="-17000"/>
          </a:stretch>
        </a:blipFill>
      </dgm:spPr>
      <dgm:t>
        <a:bodyPr/>
        <a:lstStyle/>
        <a:p>
          <a:endParaRPr lang="pt-PT"/>
        </a:p>
      </dgm:t>
    </dgm:pt>
    <dgm:pt modelId="{E58EB6C1-C025-4A2A-B06D-28FDE90481C7}" type="pres">
      <dgm:prSet presAssocID="{6581EFD5-33D0-45D4-A27F-6B359C489333}" presName="txShp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95B802FA-15FA-466C-9523-E04F306F5F91}" type="pres">
      <dgm:prSet presAssocID="{AF877C83-9E3E-41EF-BC9E-E96C48773BEB}" presName="spacing" presStyleCnt="0"/>
      <dgm:spPr/>
    </dgm:pt>
    <dgm:pt modelId="{A3D2DD41-99DF-41F0-A13C-E9321C374229}" type="pres">
      <dgm:prSet presAssocID="{D824579A-D057-4FB8-AF24-147083A20EEA}" presName="composite" presStyleCnt="0"/>
      <dgm:spPr/>
    </dgm:pt>
    <dgm:pt modelId="{CD970B49-87E3-4F3E-A388-FBE9B7870EA1}" type="pres">
      <dgm:prSet presAssocID="{D824579A-D057-4FB8-AF24-147083A20EEA}" presName="imgShp" presStyleLbl="fgImgPlace1" presStyleIdx="4" presStyleCnt="8"/>
      <dgm:spPr>
        <a:blipFill>
          <a:blip xmlns:r="http://schemas.openxmlformats.org/officeDocument/2006/relationships" r:embed="rId5">
            <a:duotone>
              <a:schemeClr val="accent2">
                <a:alpha val="90000"/>
                <a:hueOff val="-2177"/>
                <a:satOff val="-1559"/>
                <a:lumOff val="6395"/>
                <a:alphaOff val="-22857"/>
                <a:shade val="20000"/>
                <a:satMod val="200000"/>
              </a:schemeClr>
              <a:schemeClr val="accent2">
                <a:alpha val="90000"/>
                <a:hueOff val="-2177"/>
                <a:satOff val="-1559"/>
                <a:lumOff val="6395"/>
                <a:alphaOff val="-22857"/>
                <a:tint val="12000"/>
                <a:satMod val="190000"/>
              </a:schemeClr>
            </a:duotone>
            <a:extLst/>
          </a:blip>
          <a:srcRect/>
          <a:stretch>
            <a:fillRect l="-6000" r="-6000"/>
          </a:stretch>
        </a:blipFill>
      </dgm:spPr>
      <dgm:t>
        <a:bodyPr/>
        <a:lstStyle/>
        <a:p>
          <a:endParaRPr lang="pt-PT"/>
        </a:p>
      </dgm:t>
    </dgm:pt>
    <dgm:pt modelId="{0850F637-282E-4E5D-845E-EA72AF07ADE8}" type="pres">
      <dgm:prSet presAssocID="{D824579A-D057-4FB8-AF24-147083A20EEA}" presName="txShp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E390D79E-5EE6-4619-9B5A-7936A8B5FC0E}" type="pres">
      <dgm:prSet presAssocID="{3E1E2CCA-21B8-455C-95C1-83CA3E95ADC4}" presName="spacing" presStyleCnt="0"/>
      <dgm:spPr/>
    </dgm:pt>
    <dgm:pt modelId="{AFDE93E0-93F7-4951-8B0E-CEECA2886D52}" type="pres">
      <dgm:prSet presAssocID="{03FD127C-5FE1-43BA-A67F-1EB9610A3348}" presName="composite" presStyleCnt="0"/>
      <dgm:spPr/>
    </dgm:pt>
    <dgm:pt modelId="{256FF7C9-5072-4134-980E-FC34F0BF6150}" type="pres">
      <dgm:prSet presAssocID="{03FD127C-5FE1-43BA-A67F-1EB9610A3348}" presName="imgShp" presStyleLbl="fgImgPlace1" presStyleIdx="5" presStyleCnt="8"/>
      <dgm:spPr>
        <a:blipFill>
          <a:blip xmlns:r="http://schemas.openxmlformats.org/officeDocument/2006/relationships" r:embed="rId6">
            <a:duotone>
              <a:schemeClr val="accent2">
                <a:alpha val="90000"/>
                <a:hueOff val="-2721"/>
                <a:satOff val="-1949"/>
                <a:lumOff val="7994"/>
                <a:alphaOff val="-28571"/>
                <a:shade val="20000"/>
                <a:satMod val="200000"/>
              </a:schemeClr>
              <a:schemeClr val="accent2">
                <a:alpha val="90000"/>
                <a:hueOff val="-2721"/>
                <a:satOff val="-1949"/>
                <a:lumOff val="7994"/>
                <a:alphaOff val="-28571"/>
                <a:tint val="12000"/>
                <a:satMod val="190000"/>
              </a:schemeClr>
            </a:duotone>
            <a:extLst/>
          </a:blip>
          <a:srcRect/>
          <a:stretch>
            <a:fillRect l="-21000" r="-21000"/>
          </a:stretch>
        </a:blipFill>
      </dgm:spPr>
      <dgm:t>
        <a:bodyPr/>
        <a:lstStyle/>
        <a:p>
          <a:endParaRPr lang="pt-PT"/>
        </a:p>
      </dgm:t>
    </dgm:pt>
    <dgm:pt modelId="{AFE701A1-F018-4AED-A15E-2A2F2573D5E8}" type="pres">
      <dgm:prSet presAssocID="{03FD127C-5FE1-43BA-A67F-1EB9610A3348}" presName="txShp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6E695B0F-2211-436E-9FA9-94FEA05F9814}" type="pres">
      <dgm:prSet presAssocID="{240B623B-1E02-4FA9-BBF1-A280F60A8E5A}" presName="spacing" presStyleCnt="0"/>
      <dgm:spPr/>
    </dgm:pt>
    <dgm:pt modelId="{9051DDCF-86C3-4039-B474-E21398286656}" type="pres">
      <dgm:prSet presAssocID="{E9785CAE-E9AC-46DF-9086-673733499CC4}" presName="composite" presStyleCnt="0"/>
      <dgm:spPr/>
    </dgm:pt>
    <dgm:pt modelId="{691E8B66-BC41-4B3E-AB9F-CE0D3D20A7F6}" type="pres">
      <dgm:prSet presAssocID="{E9785CAE-E9AC-46DF-9086-673733499CC4}" presName="imgShp" presStyleLbl="fgImgPlace1" presStyleIdx="6" presStyleCnt="8"/>
      <dgm:spPr>
        <a:blipFill>
          <a:blip xmlns:r="http://schemas.openxmlformats.org/officeDocument/2006/relationships" r:embed="rId7">
            <a:duotone>
              <a:schemeClr val="accent2">
                <a:alpha val="90000"/>
                <a:hueOff val="-3265"/>
                <a:satOff val="-2339"/>
                <a:lumOff val="9592"/>
                <a:alphaOff val="-34286"/>
                <a:shade val="20000"/>
                <a:satMod val="200000"/>
              </a:schemeClr>
              <a:schemeClr val="accent2">
                <a:alpha val="90000"/>
                <a:hueOff val="-3265"/>
                <a:satOff val="-2339"/>
                <a:lumOff val="9592"/>
                <a:alphaOff val="-34286"/>
                <a:tint val="12000"/>
                <a:satMod val="190000"/>
              </a:schemeClr>
            </a:duotone>
            <a:extLst/>
          </a:blip>
          <a:srcRect/>
          <a:stretch>
            <a:fillRect l="-25000" r="-25000"/>
          </a:stretch>
        </a:blipFill>
      </dgm:spPr>
      <dgm:t>
        <a:bodyPr/>
        <a:lstStyle/>
        <a:p>
          <a:endParaRPr lang="pt-PT"/>
        </a:p>
      </dgm:t>
    </dgm:pt>
    <dgm:pt modelId="{C1F2C2AA-58F0-4B73-B810-99B0C5B532F3}" type="pres">
      <dgm:prSet presAssocID="{E9785CAE-E9AC-46DF-9086-673733499CC4}" presName="txShp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B8FE3D4A-AEA2-47B2-83B5-92C1AE694919}" type="pres">
      <dgm:prSet presAssocID="{72516EAD-1D25-49D3-8CBD-5B0A5F1B14C3}" presName="spacing" presStyleCnt="0"/>
      <dgm:spPr/>
    </dgm:pt>
    <dgm:pt modelId="{6C3B10DF-D06B-4722-BDB7-ED67F10E0387}" type="pres">
      <dgm:prSet presAssocID="{7C5E9939-189E-4F2F-86DE-72994597630E}" presName="composite" presStyleCnt="0"/>
      <dgm:spPr/>
    </dgm:pt>
    <dgm:pt modelId="{F98F6CDA-F2D1-4EB4-A306-2E996B6897BB}" type="pres">
      <dgm:prSet presAssocID="{7C5E9939-189E-4F2F-86DE-72994597630E}" presName="imgShp" presStyleLbl="fgImgPlace1" presStyleIdx="7" presStyleCnt="8"/>
      <dgm:spPr>
        <a:blipFill>
          <a:blip xmlns:r="http://schemas.openxmlformats.org/officeDocument/2006/relationships" r:embed="rId8">
            <a:duotone>
              <a:schemeClr val="accent2">
                <a:alpha val="90000"/>
                <a:hueOff val="-3809"/>
                <a:satOff val="-2729"/>
                <a:lumOff val="11191"/>
                <a:alphaOff val="-40000"/>
                <a:shade val="20000"/>
                <a:satMod val="200000"/>
              </a:schemeClr>
              <a:schemeClr val="accent2">
                <a:alpha val="90000"/>
                <a:hueOff val="-3809"/>
                <a:satOff val="-2729"/>
                <a:lumOff val="11191"/>
                <a:alphaOff val="-40000"/>
                <a:tint val="12000"/>
                <a:satMod val="190000"/>
              </a:schemeClr>
            </a:duotone>
            <a:extLst/>
          </a:blip>
          <a:srcRect/>
          <a:stretch>
            <a:fillRect l="-11000" r="-11000"/>
          </a:stretch>
        </a:blipFill>
      </dgm:spPr>
      <dgm:t>
        <a:bodyPr/>
        <a:lstStyle/>
        <a:p>
          <a:endParaRPr lang="pt-PT"/>
        </a:p>
      </dgm:t>
    </dgm:pt>
    <dgm:pt modelId="{804DF666-BE92-4B8A-8D47-D5C42D9519F5}" type="pres">
      <dgm:prSet presAssocID="{7C5E9939-189E-4F2F-86DE-72994597630E}" presName="txShp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7AC37C92-43AF-4F45-B898-959CF461FDF5}" srcId="{E14FBBEF-D893-4C04-87FC-BA9AED97A429}" destId="{6581EFD5-33D0-45D4-A27F-6B359C489333}" srcOrd="3" destOrd="0" parTransId="{66CA9E94-0E1E-4C9C-A05D-D71A71B71B94}" sibTransId="{AF877C83-9E3E-41EF-BC9E-E96C48773BEB}"/>
    <dgm:cxn modelId="{A7B19EFA-540F-465F-8049-7F5E48792AB2}" type="presOf" srcId="{7C5E9939-189E-4F2F-86DE-72994597630E}" destId="{804DF666-BE92-4B8A-8D47-D5C42D9519F5}" srcOrd="0" destOrd="0" presId="urn:microsoft.com/office/officeart/2005/8/layout/vList3"/>
    <dgm:cxn modelId="{50ED34A2-B9DF-415C-BC22-13377C919E1A}" srcId="{E14FBBEF-D893-4C04-87FC-BA9AED97A429}" destId="{80786AC8-642F-43CF-8BAE-19D287141249}" srcOrd="2" destOrd="0" parTransId="{0CFEEFE2-4BCC-4D34-9918-4365A5F4175D}" sibTransId="{FC71F4DA-2FF0-40A4-B52E-A1EFFF076A48}"/>
    <dgm:cxn modelId="{7A37BDC5-ED78-4D16-B590-0C41F4172A98}" type="presOf" srcId="{6581EFD5-33D0-45D4-A27F-6B359C489333}" destId="{E58EB6C1-C025-4A2A-B06D-28FDE90481C7}" srcOrd="0" destOrd="0" presId="urn:microsoft.com/office/officeart/2005/8/layout/vList3"/>
    <dgm:cxn modelId="{56D77C80-0873-46A3-9478-89A4370752FE}" srcId="{E14FBBEF-D893-4C04-87FC-BA9AED97A429}" destId="{03FD127C-5FE1-43BA-A67F-1EB9610A3348}" srcOrd="5" destOrd="0" parTransId="{C11463D1-20A4-45ED-9A03-7B7FFB32414D}" sibTransId="{240B623B-1E02-4FA9-BBF1-A280F60A8E5A}"/>
    <dgm:cxn modelId="{8DDB5B34-D529-428F-976A-F9DD0EA6D231}" type="presOf" srcId="{D824579A-D057-4FB8-AF24-147083A20EEA}" destId="{0850F637-282E-4E5D-845E-EA72AF07ADE8}" srcOrd="0" destOrd="0" presId="urn:microsoft.com/office/officeart/2005/8/layout/vList3"/>
    <dgm:cxn modelId="{F3137057-2754-4666-ADFE-7B607173C0DE}" srcId="{E14FBBEF-D893-4C04-87FC-BA9AED97A429}" destId="{DFFDF4C8-23F7-4F20-86DA-248B8916FB58}" srcOrd="0" destOrd="0" parTransId="{89068833-AD98-41DB-90CA-CB0B4ADEE1E6}" sibTransId="{AF6F0C43-060D-4F58-85C9-24117D5CBADE}"/>
    <dgm:cxn modelId="{6C6279C2-98F7-4289-ADE1-2D851B0124F5}" srcId="{E14FBBEF-D893-4C04-87FC-BA9AED97A429}" destId="{7C5E9939-189E-4F2F-86DE-72994597630E}" srcOrd="7" destOrd="0" parTransId="{BB7DECF9-CBB0-41CD-8306-C599ADEFCD9D}" sibTransId="{0B908EBE-9E30-4923-9F8A-1C3B3B21B54C}"/>
    <dgm:cxn modelId="{E31C0157-8FF9-4EF0-9B2A-E8812F0CC145}" type="presOf" srcId="{E9785CAE-E9AC-46DF-9086-673733499CC4}" destId="{C1F2C2AA-58F0-4B73-B810-99B0C5B532F3}" srcOrd="0" destOrd="0" presId="urn:microsoft.com/office/officeart/2005/8/layout/vList3"/>
    <dgm:cxn modelId="{F51C38AE-B0D2-428F-B024-D436E44F42EA}" type="presOf" srcId="{03FD127C-5FE1-43BA-A67F-1EB9610A3348}" destId="{AFE701A1-F018-4AED-A15E-2A2F2573D5E8}" srcOrd="0" destOrd="0" presId="urn:microsoft.com/office/officeart/2005/8/layout/vList3"/>
    <dgm:cxn modelId="{199D06D6-1D23-4E81-AE7B-B85530156663}" type="presOf" srcId="{DFFDF4C8-23F7-4F20-86DA-248B8916FB58}" destId="{95EF2368-90DD-4335-9337-5A8FA448E961}" srcOrd="0" destOrd="0" presId="urn:microsoft.com/office/officeart/2005/8/layout/vList3"/>
    <dgm:cxn modelId="{95FC42F5-1390-44D9-95D3-3BE111812981}" srcId="{E14FBBEF-D893-4C04-87FC-BA9AED97A429}" destId="{E9785CAE-E9AC-46DF-9086-673733499CC4}" srcOrd="6" destOrd="0" parTransId="{A383A50C-787A-418E-AF5F-D64A1BCC7C82}" sibTransId="{72516EAD-1D25-49D3-8CBD-5B0A5F1B14C3}"/>
    <dgm:cxn modelId="{95776B11-5AFE-4F42-BFA4-AD0EAF50D5C9}" type="presOf" srcId="{80786AC8-642F-43CF-8BAE-19D287141249}" destId="{7524A4D9-A9E5-48D9-AB0F-F97ED9BE725A}" srcOrd="0" destOrd="0" presId="urn:microsoft.com/office/officeart/2005/8/layout/vList3"/>
    <dgm:cxn modelId="{40396AD3-2DFE-40FB-8C51-DFC5F4445689}" srcId="{E14FBBEF-D893-4C04-87FC-BA9AED97A429}" destId="{AE49CA6D-4FEC-4588-9D32-38131C3DF3AF}" srcOrd="1" destOrd="0" parTransId="{FCF4BB40-2AB6-4FA1-9A29-EEDB8A1EC97D}" sibTransId="{C9A11A51-4BCA-4024-995F-0A1F4B985B82}"/>
    <dgm:cxn modelId="{68ED3CFD-7875-4669-948C-F42531FB26C3}" srcId="{E14FBBEF-D893-4C04-87FC-BA9AED97A429}" destId="{D824579A-D057-4FB8-AF24-147083A20EEA}" srcOrd="4" destOrd="0" parTransId="{A18F6D26-9F5E-49D3-8103-7276BDE64EDF}" sibTransId="{3E1E2CCA-21B8-455C-95C1-83CA3E95ADC4}"/>
    <dgm:cxn modelId="{15670AA6-FC2C-4045-A704-DE564AC3E69F}" type="presOf" srcId="{AE49CA6D-4FEC-4588-9D32-38131C3DF3AF}" destId="{E746AB28-4F99-43A9-8268-EF711E647482}" srcOrd="0" destOrd="0" presId="urn:microsoft.com/office/officeart/2005/8/layout/vList3"/>
    <dgm:cxn modelId="{19C5EC16-DAEB-4377-98EF-25ED4B40DB03}" type="presOf" srcId="{E14FBBEF-D893-4C04-87FC-BA9AED97A429}" destId="{85062476-6BE6-4D31-A001-0B217235215B}" srcOrd="0" destOrd="0" presId="urn:microsoft.com/office/officeart/2005/8/layout/vList3"/>
    <dgm:cxn modelId="{AB090ADA-E6AD-4E22-87F3-C5C5B44B085C}" type="presParOf" srcId="{85062476-6BE6-4D31-A001-0B217235215B}" destId="{5A4F3CCB-3FE8-4A9A-BF1C-7F5E93D72ED3}" srcOrd="0" destOrd="0" presId="urn:microsoft.com/office/officeart/2005/8/layout/vList3"/>
    <dgm:cxn modelId="{D00DF42E-8E61-465C-9B28-75802E3A26D8}" type="presParOf" srcId="{5A4F3CCB-3FE8-4A9A-BF1C-7F5E93D72ED3}" destId="{B1DB9E8F-71BB-43D7-BD71-3A62B9D30DFA}" srcOrd="0" destOrd="0" presId="urn:microsoft.com/office/officeart/2005/8/layout/vList3"/>
    <dgm:cxn modelId="{CA933B22-E3A8-46A5-992E-AED5E93143FF}" type="presParOf" srcId="{5A4F3CCB-3FE8-4A9A-BF1C-7F5E93D72ED3}" destId="{95EF2368-90DD-4335-9337-5A8FA448E961}" srcOrd="1" destOrd="0" presId="urn:microsoft.com/office/officeart/2005/8/layout/vList3"/>
    <dgm:cxn modelId="{52FC3332-2A2C-40D3-BBC3-BD45A729453A}" type="presParOf" srcId="{85062476-6BE6-4D31-A001-0B217235215B}" destId="{2880A9E2-A60C-42B5-97CC-10E92BC030D8}" srcOrd="1" destOrd="0" presId="urn:microsoft.com/office/officeart/2005/8/layout/vList3"/>
    <dgm:cxn modelId="{CF12D352-3AD7-40C2-97F1-104E76372FD6}" type="presParOf" srcId="{85062476-6BE6-4D31-A001-0B217235215B}" destId="{DA60C787-BB1C-45DF-9F1B-5C7E3F43C987}" srcOrd="2" destOrd="0" presId="urn:microsoft.com/office/officeart/2005/8/layout/vList3"/>
    <dgm:cxn modelId="{07E765A3-7005-4F3C-9D3E-D7D899BEB1EF}" type="presParOf" srcId="{DA60C787-BB1C-45DF-9F1B-5C7E3F43C987}" destId="{8D0DD409-29D4-4191-B515-1AC588C8ED8B}" srcOrd="0" destOrd="0" presId="urn:microsoft.com/office/officeart/2005/8/layout/vList3"/>
    <dgm:cxn modelId="{DD204F9D-7C16-47CA-9F8F-CC1E8D5D0107}" type="presParOf" srcId="{DA60C787-BB1C-45DF-9F1B-5C7E3F43C987}" destId="{E746AB28-4F99-43A9-8268-EF711E647482}" srcOrd="1" destOrd="0" presId="urn:microsoft.com/office/officeart/2005/8/layout/vList3"/>
    <dgm:cxn modelId="{297156BC-206F-44DB-B62B-59AFF4EC08D9}" type="presParOf" srcId="{85062476-6BE6-4D31-A001-0B217235215B}" destId="{2BBB6A2F-0CEB-4A69-802A-8A68A4D48AC9}" srcOrd="3" destOrd="0" presId="urn:microsoft.com/office/officeart/2005/8/layout/vList3"/>
    <dgm:cxn modelId="{2334A391-95A5-493F-A56B-966233FF312F}" type="presParOf" srcId="{85062476-6BE6-4D31-A001-0B217235215B}" destId="{28A80362-5339-4448-9C93-8EF0ED4DFDDA}" srcOrd="4" destOrd="0" presId="urn:microsoft.com/office/officeart/2005/8/layout/vList3"/>
    <dgm:cxn modelId="{6932FD9E-01EC-4BBC-B54B-112088D8F0FF}" type="presParOf" srcId="{28A80362-5339-4448-9C93-8EF0ED4DFDDA}" destId="{67951A5A-7447-4986-9761-FEE1F5173833}" srcOrd="0" destOrd="0" presId="urn:microsoft.com/office/officeart/2005/8/layout/vList3"/>
    <dgm:cxn modelId="{82712FD8-E900-4709-8072-1A0CE9423998}" type="presParOf" srcId="{28A80362-5339-4448-9C93-8EF0ED4DFDDA}" destId="{7524A4D9-A9E5-48D9-AB0F-F97ED9BE725A}" srcOrd="1" destOrd="0" presId="urn:microsoft.com/office/officeart/2005/8/layout/vList3"/>
    <dgm:cxn modelId="{B2EFC0DB-168B-468C-85F0-ED66BE6B2CD2}" type="presParOf" srcId="{85062476-6BE6-4D31-A001-0B217235215B}" destId="{83B549AA-21E9-43FE-A6EC-331079CE22AD}" srcOrd="5" destOrd="0" presId="urn:microsoft.com/office/officeart/2005/8/layout/vList3"/>
    <dgm:cxn modelId="{3DBD897E-7C4D-4C73-ADB5-ECF0772C4509}" type="presParOf" srcId="{85062476-6BE6-4D31-A001-0B217235215B}" destId="{63D455F6-4EE1-48EE-840E-C947C3D8E1DE}" srcOrd="6" destOrd="0" presId="urn:microsoft.com/office/officeart/2005/8/layout/vList3"/>
    <dgm:cxn modelId="{1FF8C102-C1EE-4BFE-B59E-D67C3E532AC0}" type="presParOf" srcId="{63D455F6-4EE1-48EE-840E-C947C3D8E1DE}" destId="{A1C19BA3-3AE5-40FB-B41C-04179BAA683D}" srcOrd="0" destOrd="0" presId="urn:microsoft.com/office/officeart/2005/8/layout/vList3"/>
    <dgm:cxn modelId="{16B73B8E-59F7-43F3-A423-851BFDA7CF53}" type="presParOf" srcId="{63D455F6-4EE1-48EE-840E-C947C3D8E1DE}" destId="{E58EB6C1-C025-4A2A-B06D-28FDE90481C7}" srcOrd="1" destOrd="0" presId="urn:microsoft.com/office/officeart/2005/8/layout/vList3"/>
    <dgm:cxn modelId="{812DD173-4A81-4349-BBB8-DE74383ED1CA}" type="presParOf" srcId="{85062476-6BE6-4D31-A001-0B217235215B}" destId="{95B802FA-15FA-466C-9523-E04F306F5F91}" srcOrd="7" destOrd="0" presId="urn:microsoft.com/office/officeart/2005/8/layout/vList3"/>
    <dgm:cxn modelId="{B61425ED-0C35-4A14-89C8-825E369AA493}" type="presParOf" srcId="{85062476-6BE6-4D31-A001-0B217235215B}" destId="{A3D2DD41-99DF-41F0-A13C-E9321C374229}" srcOrd="8" destOrd="0" presId="urn:microsoft.com/office/officeart/2005/8/layout/vList3"/>
    <dgm:cxn modelId="{328D3C05-5F48-4D23-A3FD-5B9576B28E69}" type="presParOf" srcId="{A3D2DD41-99DF-41F0-A13C-E9321C374229}" destId="{CD970B49-87E3-4F3E-A388-FBE9B7870EA1}" srcOrd="0" destOrd="0" presId="urn:microsoft.com/office/officeart/2005/8/layout/vList3"/>
    <dgm:cxn modelId="{5B109648-C928-4C57-BD9F-D9FAB77A183E}" type="presParOf" srcId="{A3D2DD41-99DF-41F0-A13C-E9321C374229}" destId="{0850F637-282E-4E5D-845E-EA72AF07ADE8}" srcOrd="1" destOrd="0" presId="urn:microsoft.com/office/officeart/2005/8/layout/vList3"/>
    <dgm:cxn modelId="{B77A1D05-4B25-4283-B950-50E9B0F366CB}" type="presParOf" srcId="{85062476-6BE6-4D31-A001-0B217235215B}" destId="{E390D79E-5EE6-4619-9B5A-7936A8B5FC0E}" srcOrd="9" destOrd="0" presId="urn:microsoft.com/office/officeart/2005/8/layout/vList3"/>
    <dgm:cxn modelId="{8F8E7559-525C-4F54-B069-35CD17952CB6}" type="presParOf" srcId="{85062476-6BE6-4D31-A001-0B217235215B}" destId="{AFDE93E0-93F7-4951-8B0E-CEECA2886D52}" srcOrd="10" destOrd="0" presId="urn:microsoft.com/office/officeart/2005/8/layout/vList3"/>
    <dgm:cxn modelId="{9F3466C7-59E2-402E-B23D-372F761C27B2}" type="presParOf" srcId="{AFDE93E0-93F7-4951-8B0E-CEECA2886D52}" destId="{256FF7C9-5072-4134-980E-FC34F0BF6150}" srcOrd="0" destOrd="0" presId="urn:microsoft.com/office/officeart/2005/8/layout/vList3"/>
    <dgm:cxn modelId="{32265D52-B0D0-45EF-BB51-B17629ABE47F}" type="presParOf" srcId="{AFDE93E0-93F7-4951-8B0E-CEECA2886D52}" destId="{AFE701A1-F018-4AED-A15E-2A2F2573D5E8}" srcOrd="1" destOrd="0" presId="urn:microsoft.com/office/officeart/2005/8/layout/vList3"/>
    <dgm:cxn modelId="{17074DC5-B173-40D9-89A9-2A58F0F832F4}" type="presParOf" srcId="{85062476-6BE6-4D31-A001-0B217235215B}" destId="{6E695B0F-2211-436E-9FA9-94FEA05F9814}" srcOrd="11" destOrd="0" presId="urn:microsoft.com/office/officeart/2005/8/layout/vList3"/>
    <dgm:cxn modelId="{D4FD9F68-5123-4174-A4E0-0B9F9A9FFE10}" type="presParOf" srcId="{85062476-6BE6-4D31-A001-0B217235215B}" destId="{9051DDCF-86C3-4039-B474-E21398286656}" srcOrd="12" destOrd="0" presId="urn:microsoft.com/office/officeart/2005/8/layout/vList3"/>
    <dgm:cxn modelId="{D1C63962-6FC9-4126-94D8-F3F6BB7B3FEB}" type="presParOf" srcId="{9051DDCF-86C3-4039-B474-E21398286656}" destId="{691E8B66-BC41-4B3E-AB9F-CE0D3D20A7F6}" srcOrd="0" destOrd="0" presId="urn:microsoft.com/office/officeart/2005/8/layout/vList3"/>
    <dgm:cxn modelId="{522FA209-9BAA-4755-B5AF-07722C712607}" type="presParOf" srcId="{9051DDCF-86C3-4039-B474-E21398286656}" destId="{C1F2C2AA-58F0-4B73-B810-99B0C5B532F3}" srcOrd="1" destOrd="0" presId="urn:microsoft.com/office/officeart/2005/8/layout/vList3"/>
    <dgm:cxn modelId="{5E3FBC05-AC29-4A1F-8BB8-348875DCD3FE}" type="presParOf" srcId="{85062476-6BE6-4D31-A001-0B217235215B}" destId="{B8FE3D4A-AEA2-47B2-83B5-92C1AE694919}" srcOrd="13" destOrd="0" presId="urn:microsoft.com/office/officeart/2005/8/layout/vList3"/>
    <dgm:cxn modelId="{08760DEF-6FE2-42FC-B826-3B0C187818B3}" type="presParOf" srcId="{85062476-6BE6-4D31-A001-0B217235215B}" destId="{6C3B10DF-D06B-4722-BDB7-ED67F10E0387}" srcOrd="14" destOrd="0" presId="urn:microsoft.com/office/officeart/2005/8/layout/vList3"/>
    <dgm:cxn modelId="{616C3692-C8FD-421E-AAA9-E13ACA1F2E28}" type="presParOf" srcId="{6C3B10DF-D06B-4722-BDB7-ED67F10E0387}" destId="{F98F6CDA-F2D1-4EB4-A306-2E996B6897BB}" srcOrd="0" destOrd="0" presId="urn:microsoft.com/office/officeart/2005/8/layout/vList3"/>
    <dgm:cxn modelId="{1207FEC0-99DC-4CE4-9633-3C312F17B422}" type="presParOf" srcId="{6C3B10DF-D06B-4722-BDB7-ED67F10E0387}" destId="{804DF666-BE92-4B8A-8D47-D5C42D9519F5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E14FBBEF-D893-4C04-87FC-BA9AED97A429}" type="doc">
      <dgm:prSet loTypeId="urn:microsoft.com/office/officeart/2005/8/layout/hList6" loCatId="list" qsTypeId="urn:microsoft.com/office/officeart/2005/8/quickstyle/simple1#9" qsCatId="simple" csTypeId="urn:microsoft.com/office/officeart/2005/8/colors/accent2_5" csCatId="accent2" phldr="1"/>
      <dgm:spPr/>
      <dgm:t>
        <a:bodyPr/>
        <a:lstStyle/>
        <a:p>
          <a:endParaRPr lang="pt-PT"/>
        </a:p>
      </dgm:t>
    </dgm:pt>
    <dgm:pt modelId="{7C5E9939-189E-4F2F-86DE-72994597630E}">
      <dgm:prSet custT="1"/>
      <dgm:spPr/>
      <dgm:t>
        <a:bodyPr/>
        <a:lstStyle/>
        <a:p>
          <a:pPr algn="ctr"/>
          <a:endParaRPr lang="pt-PT" sz="1800" dirty="0" smtClean="0">
            <a:latin typeface="Arial" pitchFamily="34" charset="0"/>
            <a:cs typeface="Arial" pitchFamily="34" charset="0"/>
          </a:endParaRPr>
        </a:p>
        <a:p>
          <a:pPr algn="ctr"/>
          <a:r>
            <a:rPr lang="pt-PT" sz="1600" dirty="0" smtClean="0">
              <a:latin typeface="Arial" pitchFamily="34" charset="0"/>
              <a:cs typeface="Arial" pitchFamily="34" charset="0"/>
            </a:rPr>
            <a:t>PROJETO SIMPLIFICADO</a:t>
          </a:r>
        </a:p>
        <a:p>
          <a:pPr algn="ctr"/>
          <a:r>
            <a:rPr lang="pt-PT" sz="1600" dirty="0" smtClean="0">
              <a:latin typeface="Arial" pitchFamily="34" charset="0"/>
              <a:cs typeface="Arial" pitchFamily="34" charset="0"/>
            </a:rPr>
            <a:t>“VALE”</a:t>
          </a:r>
        </a:p>
        <a:p>
          <a:pPr algn="ctr"/>
          <a:endParaRPr lang="pt-PT" sz="12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pt-PT" sz="1400" dirty="0" smtClean="0">
              <a:latin typeface="Arial" pitchFamily="34" charset="0"/>
              <a:cs typeface="Arial" pitchFamily="34" charset="0"/>
            </a:rPr>
            <a:t>Apresentado p/ PME para aquisição de serviços </a:t>
          </a:r>
        </a:p>
        <a:p>
          <a:pPr algn="l"/>
          <a:endParaRPr lang="pt-PT" sz="12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pt-PT" sz="1400" dirty="0" smtClean="0">
              <a:latin typeface="Arial" pitchFamily="34" charset="0"/>
              <a:cs typeface="Arial" pitchFamily="34" charset="0"/>
            </a:rPr>
            <a:t>Taxa incentivo máxima 75%;</a:t>
          </a:r>
        </a:p>
        <a:p>
          <a:pPr algn="l"/>
          <a:endParaRPr lang="pt-PT" sz="14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pt-PT" sz="1400" dirty="0" smtClean="0">
              <a:latin typeface="Arial" pitchFamily="34" charset="0"/>
              <a:cs typeface="Arial" pitchFamily="34" charset="0"/>
            </a:rPr>
            <a:t>Incentivo não reembolsável.</a:t>
          </a:r>
          <a:endParaRPr lang="pt-PT" sz="1400" dirty="0">
            <a:latin typeface="Arial" pitchFamily="34" charset="0"/>
            <a:cs typeface="Arial" pitchFamily="34" charset="0"/>
          </a:endParaRPr>
        </a:p>
      </dgm:t>
    </dgm:pt>
    <dgm:pt modelId="{BB7DECF9-CBB0-41CD-8306-C599ADEFCD9D}" type="parTrans" cxnId="{6C6279C2-98F7-4289-ADE1-2D851B0124F5}">
      <dgm:prSet/>
      <dgm:spPr/>
      <dgm:t>
        <a:bodyPr/>
        <a:lstStyle/>
        <a:p>
          <a:endParaRPr lang="pt-PT"/>
        </a:p>
      </dgm:t>
    </dgm:pt>
    <dgm:pt modelId="{0B908EBE-9E30-4923-9F8A-1C3B3B21B54C}" type="sibTrans" cxnId="{6C6279C2-98F7-4289-ADE1-2D851B0124F5}">
      <dgm:prSet/>
      <dgm:spPr/>
      <dgm:t>
        <a:bodyPr/>
        <a:lstStyle/>
        <a:p>
          <a:endParaRPr lang="pt-PT"/>
        </a:p>
      </dgm:t>
    </dgm:pt>
    <dgm:pt modelId="{E9785CAE-E9AC-46DF-9086-673733499CC4}">
      <dgm:prSet custT="1"/>
      <dgm:spPr/>
      <dgm:t>
        <a:bodyPr/>
        <a:lstStyle/>
        <a:p>
          <a:pPr algn="ctr"/>
          <a:endParaRPr lang="pt-PT" sz="1800" dirty="0" smtClean="0">
            <a:latin typeface="Arial" pitchFamily="34" charset="0"/>
            <a:cs typeface="Arial" pitchFamily="34" charset="0"/>
          </a:endParaRPr>
        </a:p>
        <a:p>
          <a:pPr algn="ctr"/>
          <a:r>
            <a:rPr lang="pt-PT" sz="1600" dirty="0" smtClean="0">
              <a:latin typeface="Arial" pitchFamily="34" charset="0"/>
              <a:cs typeface="Arial" pitchFamily="34" charset="0"/>
            </a:rPr>
            <a:t>PROJETO CONJUNTO</a:t>
          </a:r>
        </a:p>
        <a:p>
          <a:pPr algn="l"/>
          <a:endParaRPr lang="pt-PT" sz="14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pt-PT" sz="1400" dirty="0" smtClean="0">
              <a:latin typeface="Arial" pitchFamily="34" charset="0"/>
              <a:cs typeface="Arial" pitchFamily="34" charset="0"/>
            </a:rPr>
            <a:t>Programa estruturado de intervenção num conjunto de empresas;</a:t>
          </a:r>
        </a:p>
        <a:p>
          <a:pPr algn="l"/>
          <a:endParaRPr lang="pt-PT" sz="14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pt-PT" sz="1400" dirty="0" smtClean="0">
              <a:latin typeface="Arial" pitchFamily="34" charset="0"/>
              <a:cs typeface="Arial" pitchFamily="34" charset="0"/>
            </a:rPr>
            <a:t>Taxa incentivo máxima de 50%, sendo 75% na internacionalização;</a:t>
          </a:r>
        </a:p>
        <a:p>
          <a:pPr algn="l"/>
          <a:endParaRPr lang="pt-PT" sz="14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pt-PT" sz="1400" dirty="0" smtClean="0">
              <a:latin typeface="Arial" pitchFamily="34" charset="0"/>
              <a:cs typeface="Arial" pitchFamily="34" charset="0"/>
            </a:rPr>
            <a:t>Incentivo não reembolsável.</a:t>
          </a:r>
          <a:endParaRPr lang="pt-PT" sz="1400" dirty="0">
            <a:latin typeface="Arial" pitchFamily="34" charset="0"/>
            <a:cs typeface="Arial" pitchFamily="34" charset="0"/>
          </a:endParaRPr>
        </a:p>
      </dgm:t>
    </dgm:pt>
    <dgm:pt modelId="{72516EAD-1D25-49D3-8CBD-5B0A5F1B14C3}" type="sibTrans" cxnId="{95FC42F5-1390-44D9-95D3-3BE111812981}">
      <dgm:prSet/>
      <dgm:spPr/>
      <dgm:t>
        <a:bodyPr/>
        <a:lstStyle/>
        <a:p>
          <a:endParaRPr lang="pt-PT"/>
        </a:p>
      </dgm:t>
    </dgm:pt>
    <dgm:pt modelId="{A383A50C-787A-418E-AF5F-D64A1BCC7C82}" type="parTrans" cxnId="{95FC42F5-1390-44D9-95D3-3BE111812981}">
      <dgm:prSet/>
      <dgm:spPr/>
      <dgm:t>
        <a:bodyPr/>
        <a:lstStyle/>
        <a:p>
          <a:endParaRPr lang="pt-PT"/>
        </a:p>
      </dgm:t>
    </dgm:pt>
    <dgm:pt modelId="{03FD127C-5FE1-43BA-A67F-1EB9610A3348}">
      <dgm:prSet custT="1"/>
      <dgm:spPr/>
      <dgm:t>
        <a:bodyPr/>
        <a:lstStyle/>
        <a:p>
          <a:pPr algn="ctr"/>
          <a:endParaRPr lang="pt-PT" sz="1600" dirty="0" smtClean="0">
            <a:latin typeface="Arial" pitchFamily="34" charset="0"/>
            <a:cs typeface="Arial" pitchFamily="34" charset="0"/>
          </a:endParaRPr>
        </a:p>
        <a:p>
          <a:pPr algn="ctr"/>
          <a:r>
            <a:rPr lang="pt-PT" sz="1600" dirty="0" smtClean="0">
              <a:latin typeface="Arial" pitchFamily="34" charset="0"/>
              <a:cs typeface="Arial" pitchFamily="34" charset="0"/>
            </a:rPr>
            <a:t>PROJETO INDIVIDUAL</a:t>
          </a:r>
        </a:p>
        <a:p>
          <a:pPr algn="l"/>
          <a:endParaRPr lang="pt-PT" sz="14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pt-PT" sz="1400" dirty="0" smtClean="0">
              <a:latin typeface="Arial" pitchFamily="34" charset="0"/>
              <a:cs typeface="Arial" pitchFamily="34" charset="0"/>
            </a:rPr>
            <a:t>Investimento apresentado p/ PME;</a:t>
          </a:r>
        </a:p>
        <a:p>
          <a:pPr algn="l"/>
          <a:endParaRPr lang="pt-PT" sz="14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pt-PT" sz="1400" dirty="0" smtClean="0">
              <a:latin typeface="Arial" pitchFamily="34" charset="0"/>
              <a:cs typeface="Arial" pitchFamily="34" charset="0"/>
            </a:rPr>
            <a:t>Taxa incentivo máxima de 50%, sendo 75% na internacionalização;</a:t>
          </a:r>
        </a:p>
        <a:p>
          <a:pPr algn="l"/>
          <a:endParaRPr lang="pt-PT" sz="1400" dirty="0" smtClean="0">
            <a:latin typeface="Arial" pitchFamily="34" charset="0"/>
            <a:cs typeface="Arial" pitchFamily="34" charset="0"/>
          </a:endParaRPr>
        </a:p>
        <a:p>
          <a:pPr algn="l"/>
          <a:r>
            <a:rPr lang="pt-PT" sz="1400" dirty="0" smtClean="0">
              <a:latin typeface="Arial" pitchFamily="34" charset="0"/>
              <a:cs typeface="Arial" pitchFamily="34" charset="0"/>
            </a:rPr>
            <a:t>Incentivo não reembolsável.</a:t>
          </a:r>
          <a:endParaRPr lang="pt-PT" sz="1400" dirty="0">
            <a:latin typeface="Arial" pitchFamily="34" charset="0"/>
            <a:cs typeface="Arial" pitchFamily="34" charset="0"/>
          </a:endParaRPr>
        </a:p>
      </dgm:t>
    </dgm:pt>
    <dgm:pt modelId="{240B623B-1E02-4FA9-BBF1-A280F60A8E5A}" type="sibTrans" cxnId="{56D77C80-0873-46A3-9478-89A4370752FE}">
      <dgm:prSet/>
      <dgm:spPr/>
      <dgm:t>
        <a:bodyPr/>
        <a:lstStyle/>
        <a:p>
          <a:endParaRPr lang="pt-PT"/>
        </a:p>
      </dgm:t>
    </dgm:pt>
    <dgm:pt modelId="{C11463D1-20A4-45ED-9A03-7B7FFB32414D}" type="parTrans" cxnId="{56D77C80-0873-46A3-9478-89A4370752FE}">
      <dgm:prSet/>
      <dgm:spPr/>
      <dgm:t>
        <a:bodyPr/>
        <a:lstStyle/>
        <a:p>
          <a:endParaRPr lang="pt-PT"/>
        </a:p>
      </dgm:t>
    </dgm:pt>
    <dgm:pt modelId="{2C9E612B-CA8E-407C-8C2D-222908AD0CBC}" type="pres">
      <dgm:prSet presAssocID="{E14FBBEF-D893-4C04-87FC-BA9AED97A42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8F1A8223-8F17-42A4-BB99-8DF0D1A30B89}" type="pres">
      <dgm:prSet presAssocID="{03FD127C-5FE1-43BA-A67F-1EB9610A3348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542C20D1-AE55-4AE2-9CD8-35EEA4ADE62A}" type="pres">
      <dgm:prSet presAssocID="{240B623B-1E02-4FA9-BBF1-A280F60A8E5A}" presName="sibTrans" presStyleCnt="0"/>
      <dgm:spPr/>
    </dgm:pt>
    <dgm:pt modelId="{89BEC2E7-894A-4E52-8A9A-7821274926E7}" type="pres">
      <dgm:prSet presAssocID="{E9785CAE-E9AC-46DF-9086-673733499CC4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022C548F-D503-4D04-980C-AAA161CE3045}" type="pres">
      <dgm:prSet presAssocID="{72516EAD-1D25-49D3-8CBD-5B0A5F1B14C3}" presName="sibTrans" presStyleCnt="0"/>
      <dgm:spPr/>
    </dgm:pt>
    <dgm:pt modelId="{E30AFF00-2441-4A9F-9FBD-4B07E7B53CDB}" type="pres">
      <dgm:prSet presAssocID="{7C5E9939-189E-4F2F-86DE-72994597630E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19FA546C-D6CD-4D04-87C7-66DF9A1DEC32}" type="presOf" srcId="{E14FBBEF-D893-4C04-87FC-BA9AED97A429}" destId="{2C9E612B-CA8E-407C-8C2D-222908AD0CBC}" srcOrd="0" destOrd="0" presId="urn:microsoft.com/office/officeart/2005/8/layout/hList6"/>
    <dgm:cxn modelId="{95FC42F5-1390-44D9-95D3-3BE111812981}" srcId="{E14FBBEF-D893-4C04-87FC-BA9AED97A429}" destId="{E9785CAE-E9AC-46DF-9086-673733499CC4}" srcOrd="1" destOrd="0" parTransId="{A383A50C-787A-418E-AF5F-D64A1BCC7C82}" sibTransId="{72516EAD-1D25-49D3-8CBD-5B0A5F1B14C3}"/>
    <dgm:cxn modelId="{0F29C8CC-66D0-41F8-9C88-CCE6829BA4C2}" type="presOf" srcId="{03FD127C-5FE1-43BA-A67F-1EB9610A3348}" destId="{8F1A8223-8F17-42A4-BB99-8DF0D1A30B89}" srcOrd="0" destOrd="0" presId="urn:microsoft.com/office/officeart/2005/8/layout/hList6"/>
    <dgm:cxn modelId="{75B19343-E5A9-4DB4-B5D2-6356B82004AD}" type="presOf" srcId="{E9785CAE-E9AC-46DF-9086-673733499CC4}" destId="{89BEC2E7-894A-4E52-8A9A-7821274926E7}" srcOrd="0" destOrd="0" presId="urn:microsoft.com/office/officeart/2005/8/layout/hList6"/>
    <dgm:cxn modelId="{A4147DFC-39AC-425B-B3A1-5BA2A3B851BB}" type="presOf" srcId="{7C5E9939-189E-4F2F-86DE-72994597630E}" destId="{E30AFF00-2441-4A9F-9FBD-4B07E7B53CDB}" srcOrd="0" destOrd="0" presId="urn:microsoft.com/office/officeart/2005/8/layout/hList6"/>
    <dgm:cxn modelId="{56D77C80-0873-46A3-9478-89A4370752FE}" srcId="{E14FBBEF-D893-4C04-87FC-BA9AED97A429}" destId="{03FD127C-5FE1-43BA-A67F-1EB9610A3348}" srcOrd="0" destOrd="0" parTransId="{C11463D1-20A4-45ED-9A03-7B7FFB32414D}" sibTransId="{240B623B-1E02-4FA9-BBF1-A280F60A8E5A}"/>
    <dgm:cxn modelId="{6C6279C2-98F7-4289-ADE1-2D851B0124F5}" srcId="{E14FBBEF-D893-4C04-87FC-BA9AED97A429}" destId="{7C5E9939-189E-4F2F-86DE-72994597630E}" srcOrd="2" destOrd="0" parTransId="{BB7DECF9-CBB0-41CD-8306-C599ADEFCD9D}" sibTransId="{0B908EBE-9E30-4923-9F8A-1C3B3B21B54C}"/>
    <dgm:cxn modelId="{2F3DD065-3AB7-4242-977F-EB0BF1993DCD}" type="presParOf" srcId="{2C9E612B-CA8E-407C-8C2D-222908AD0CBC}" destId="{8F1A8223-8F17-42A4-BB99-8DF0D1A30B89}" srcOrd="0" destOrd="0" presId="urn:microsoft.com/office/officeart/2005/8/layout/hList6"/>
    <dgm:cxn modelId="{575F5879-9734-4904-AB1D-B626845570B5}" type="presParOf" srcId="{2C9E612B-CA8E-407C-8C2D-222908AD0CBC}" destId="{542C20D1-AE55-4AE2-9CD8-35EEA4ADE62A}" srcOrd="1" destOrd="0" presId="urn:microsoft.com/office/officeart/2005/8/layout/hList6"/>
    <dgm:cxn modelId="{B427BAC4-A417-4B4A-8301-A5155EE466F6}" type="presParOf" srcId="{2C9E612B-CA8E-407C-8C2D-222908AD0CBC}" destId="{89BEC2E7-894A-4E52-8A9A-7821274926E7}" srcOrd="2" destOrd="0" presId="urn:microsoft.com/office/officeart/2005/8/layout/hList6"/>
    <dgm:cxn modelId="{995CF2F1-09EE-4C5E-99F3-4CD53B67D1D4}" type="presParOf" srcId="{2C9E612B-CA8E-407C-8C2D-222908AD0CBC}" destId="{022C548F-D503-4D04-980C-AAA161CE3045}" srcOrd="3" destOrd="0" presId="urn:microsoft.com/office/officeart/2005/8/layout/hList6"/>
    <dgm:cxn modelId="{CAFF07DF-6DC8-4F69-BAF6-62594671A1E9}" type="presParOf" srcId="{2C9E612B-CA8E-407C-8C2D-222908AD0CBC}" destId="{E30AFF00-2441-4A9F-9FBD-4B07E7B53CDB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E14FBBEF-D893-4C04-87FC-BA9AED97A429}" type="doc">
      <dgm:prSet loTypeId="urn:microsoft.com/office/officeart/2008/layout/HorizontalMultiLevelHierarchy" loCatId="hierarchy" qsTypeId="urn:microsoft.com/office/officeart/2005/8/quickstyle/simple1#10" qsCatId="simple" csTypeId="urn:microsoft.com/office/officeart/2005/8/colors/accent2_5" csCatId="accent2" phldr="1"/>
      <dgm:spPr/>
      <dgm:t>
        <a:bodyPr/>
        <a:lstStyle/>
        <a:p>
          <a:endParaRPr lang="pt-PT"/>
        </a:p>
      </dgm:t>
    </dgm:pt>
    <dgm:pt modelId="{4585E753-D177-4E4F-9B06-181B48C7BA83}">
      <dgm:prSet custT="1"/>
      <dgm:spPr/>
      <dgm:t>
        <a:bodyPr/>
        <a:lstStyle/>
        <a:p>
          <a:r>
            <a:rPr lang="pt-PT" sz="2000" dirty="0" smtClean="0">
              <a:latin typeface="Arial" pitchFamily="34" charset="0"/>
              <a:cs typeface="Arial" pitchFamily="34" charset="0"/>
            </a:rPr>
            <a:t>2.182 CANDIDATURAS</a:t>
          </a:r>
          <a:endParaRPr lang="pt-PT" sz="2000" dirty="0">
            <a:latin typeface="Arial" pitchFamily="34" charset="0"/>
            <a:cs typeface="Arial" pitchFamily="34" charset="0"/>
          </a:endParaRPr>
        </a:p>
      </dgm:t>
    </dgm:pt>
    <dgm:pt modelId="{0859D9C3-D577-4526-9789-F13262209745}" type="parTrans" cxnId="{098FAD07-0472-4230-8B5E-7BEB0E181992}">
      <dgm:prSet/>
      <dgm:spPr/>
      <dgm:t>
        <a:bodyPr/>
        <a:lstStyle/>
        <a:p>
          <a:endParaRPr lang="pt-PT"/>
        </a:p>
      </dgm:t>
    </dgm:pt>
    <dgm:pt modelId="{38CF8666-F6FE-485A-98E8-B3229386D4B1}" type="sibTrans" cxnId="{098FAD07-0472-4230-8B5E-7BEB0E181992}">
      <dgm:prSet/>
      <dgm:spPr/>
      <dgm:t>
        <a:bodyPr/>
        <a:lstStyle/>
        <a:p>
          <a:endParaRPr lang="pt-PT"/>
        </a:p>
      </dgm:t>
    </dgm:pt>
    <dgm:pt modelId="{B0140155-4EF7-42EE-BBE6-B058F5727C79}">
      <dgm:prSet custT="1"/>
      <dgm:spPr/>
      <dgm:t>
        <a:bodyPr/>
        <a:lstStyle/>
        <a:p>
          <a:r>
            <a:rPr lang="pt-PT" sz="2000" b="1" kern="1200" dirty="0" smtClean="0">
              <a:solidFill>
                <a:schemeClr val="bg1"/>
              </a:solidFill>
              <a:latin typeface="Arial" charset="0"/>
              <a:ea typeface="Geneva" charset="0"/>
              <a:cs typeface="Arial" charset="0"/>
            </a:rPr>
            <a:t>RESULTADOS</a:t>
          </a:r>
          <a:endParaRPr lang="pt-PT" sz="2000" b="1" kern="1200" dirty="0">
            <a:solidFill>
              <a:schemeClr val="bg1"/>
            </a:solidFill>
            <a:latin typeface="Arial" charset="0"/>
            <a:ea typeface="Geneva" charset="0"/>
            <a:cs typeface="Arial" charset="0"/>
          </a:endParaRPr>
        </a:p>
      </dgm:t>
    </dgm:pt>
    <dgm:pt modelId="{CE8D7880-81D9-4EF0-BC8D-AF04D693E543}" type="parTrans" cxnId="{F691E520-FDEF-4190-A4D3-2DC674C575A7}">
      <dgm:prSet/>
      <dgm:spPr/>
      <dgm:t>
        <a:bodyPr/>
        <a:lstStyle/>
        <a:p>
          <a:endParaRPr lang="pt-PT"/>
        </a:p>
      </dgm:t>
    </dgm:pt>
    <dgm:pt modelId="{2A9A68A8-ACE5-4D8B-8AA9-26BC457776CF}" type="sibTrans" cxnId="{F691E520-FDEF-4190-A4D3-2DC674C575A7}">
      <dgm:prSet/>
      <dgm:spPr/>
      <dgm:t>
        <a:bodyPr/>
        <a:lstStyle/>
        <a:p>
          <a:endParaRPr lang="pt-PT"/>
        </a:p>
      </dgm:t>
    </dgm:pt>
    <dgm:pt modelId="{DDDF14F8-142E-4E3C-9117-928E18802F9D}">
      <dgm:prSet custT="1"/>
      <dgm:spPr/>
      <dgm:t>
        <a:bodyPr/>
        <a:lstStyle/>
        <a:p>
          <a:r>
            <a:rPr lang="pt-PT" sz="2000" dirty="0" smtClean="0">
              <a:latin typeface="Arial" pitchFamily="34" charset="0"/>
              <a:cs typeface="Arial" pitchFamily="34" charset="0"/>
            </a:rPr>
            <a:t>1.216 CANDIDATURAS SELECIONADAS</a:t>
          </a:r>
          <a:endParaRPr lang="pt-PT" sz="2000" dirty="0">
            <a:latin typeface="Arial" pitchFamily="34" charset="0"/>
            <a:cs typeface="Arial" pitchFamily="34" charset="0"/>
          </a:endParaRPr>
        </a:p>
      </dgm:t>
    </dgm:pt>
    <dgm:pt modelId="{4DC1CCFA-FE67-4E33-BB72-BBCF3C0D07A1}" type="parTrans" cxnId="{5E45DB02-BFEC-4A00-A1CF-B0D70169D190}">
      <dgm:prSet/>
      <dgm:spPr/>
      <dgm:t>
        <a:bodyPr/>
        <a:lstStyle/>
        <a:p>
          <a:endParaRPr lang="pt-PT"/>
        </a:p>
      </dgm:t>
    </dgm:pt>
    <dgm:pt modelId="{3D26D09B-4C92-4777-82F6-DC7E0EA5BBCD}" type="sibTrans" cxnId="{5E45DB02-BFEC-4A00-A1CF-B0D70169D190}">
      <dgm:prSet/>
      <dgm:spPr/>
      <dgm:t>
        <a:bodyPr/>
        <a:lstStyle/>
        <a:p>
          <a:endParaRPr lang="pt-PT"/>
        </a:p>
      </dgm:t>
    </dgm:pt>
    <dgm:pt modelId="{36DE1901-BFAA-42DF-AD55-6E7F33B0A053}">
      <dgm:prSet custT="1"/>
      <dgm:spPr/>
      <dgm:t>
        <a:bodyPr/>
        <a:lstStyle/>
        <a:p>
          <a:r>
            <a:rPr lang="pt-PT" sz="2000" dirty="0" smtClean="0">
              <a:latin typeface="Arial" pitchFamily="34" charset="0"/>
              <a:cs typeface="Arial" pitchFamily="34" charset="0"/>
            </a:rPr>
            <a:t>INVESTIMENTO ELEGÍVEL </a:t>
          </a:r>
          <a:r>
            <a:rPr lang="pt-PT" dirty="0" smtClean="0">
              <a:latin typeface="Arial" pitchFamily="34" charset="0"/>
              <a:cs typeface="Arial" pitchFamily="34" charset="0"/>
            </a:rPr>
            <a:t>462 M€</a:t>
          </a:r>
          <a:endParaRPr lang="pt-PT" sz="2000" dirty="0">
            <a:latin typeface="Arial" pitchFamily="34" charset="0"/>
            <a:cs typeface="Arial" pitchFamily="34" charset="0"/>
          </a:endParaRPr>
        </a:p>
      </dgm:t>
    </dgm:pt>
    <dgm:pt modelId="{B45CA203-BF26-4CFB-B4B1-8D40D1D6828F}" type="parTrans" cxnId="{07336F96-741D-459A-8D3C-27290A1933BF}">
      <dgm:prSet/>
      <dgm:spPr/>
      <dgm:t>
        <a:bodyPr/>
        <a:lstStyle/>
        <a:p>
          <a:endParaRPr lang="pt-PT"/>
        </a:p>
      </dgm:t>
    </dgm:pt>
    <dgm:pt modelId="{D3CD89F6-2A05-4238-82E2-1C48AF0963E8}" type="sibTrans" cxnId="{07336F96-741D-459A-8D3C-27290A1933BF}">
      <dgm:prSet/>
      <dgm:spPr/>
      <dgm:t>
        <a:bodyPr/>
        <a:lstStyle/>
        <a:p>
          <a:endParaRPr lang="pt-PT"/>
        </a:p>
      </dgm:t>
    </dgm:pt>
    <dgm:pt modelId="{D9254F6D-98FD-45C9-AE44-DEED07986775}">
      <dgm:prSet custT="1"/>
      <dgm:spPr/>
      <dgm:t>
        <a:bodyPr/>
        <a:lstStyle/>
        <a:p>
          <a:r>
            <a:rPr lang="pt-PT" sz="2000" dirty="0" smtClean="0">
              <a:latin typeface="Arial" pitchFamily="34" charset="0"/>
              <a:cs typeface="Arial" pitchFamily="34" charset="0"/>
            </a:rPr>
            <a:t>INCENTIVO 215</a:t>
          </a:r>
          <a:r>
            <a:rPr lang="pt-PT" dirty="0" smtClean="0">
              <a:latin typeface="Arial" pitchFamily="34" charset="0"/>
              <a:cs typeface="Arial" pitchFamily="34" charset="0"/>
            </a:rPr>
            <a:t> M€</a:t>
          </a:r>
          <a:endParaRPr lang="pt-PT" sz="2000" dirty="0">
            <a:latin typeface="Arial" pitchFamily="34" charset="0"/>
            <a:cs typeface="Arial" pitchFamily="34" charset="0"/>
          </a:endParaRPr>
        </a:p>
      </dgm:t>
    </dgm:pt>
    <dgm:pt modelId="{925A1F23-4BF8-4BA6-B0B0-51C2CD637327}" type="parTrans" cxnId="{E9589F6D-AF42-47C7-BA83-4EED8EE05C85}">
      <dgm:prSet/>
      <dgm:spPr/>
      <dgm:t>
        <a:bodyPr/>
        <a:lstStyle/>
        <a:p>
          <a:endParaRPr lang="pt-PT"/>
        </a:p>
      </dgm:t>
    </dgm:pt>
    <dgm:pt modelId="{F113E6D4-5C0B-4FAC-88C7-770DF5399135}" type="sibTrans" cxnId="{E9589F6D-AF42-47C7-BA83-4EED8EE05C85}">
      <dgm:prSet/>
      <dgm:spPr/>
      <dgm:t>
        <a:bodyPr/>
        <a:lstStyle/>
        <a:p>
          <a:endParaRPr lang="pt-PT"/>
        </a:p>
      </dgm:t>
    </dgm:pt>
    <dgm:pt modelId="{8B836743-9843-4EFA-9015-FCDA4C8BA0FF}" type="pres">
      <dgm:prSet presAssocID="{E14FBBEF-D893-4C04-87FC-BA9AED97A429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796CDD92-ED02-4765-9FD6-EDFF5A366D3E}" type="pres">
      <dgm:prSet presAssocID="{B0140155-4EF7-42EE-BBE6-B058F5727C79}" presName="root1" presStyleCnt="0"/>
      <dgm:spPr/>
    </dgm:pt>
    <dgm:pt modelId="{16B10253-94DD-4EE1-907A-74D8C494CD43}" type="pres">
      <dgm:prSet presAssocID="{B0140155-4EF7-42EE-BBE6-B058F5727C79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36056A6E-704B-44D4-AA83-C18E5EB84407}" type="pres">
      <dgm:prSet presAssocID="{B0140155-4EF7-42EE-BBE6-B058F5727C79}" presName="level2hierChild" presStyleCnt="0"/>
      <dgm:spPr/>
    </dgm:pt>
    <dgm:pt modelId="{6B5544B4-CAC1-4035-815C-128B4EECBDA9}" type="pres">
      <dgm:prSet presAssocID="{0859D9C3-D577-4526-9789-F13262209745}" presName="conn2-1" presStyleLbl="parChTrans1D2" presStyleIdx="0" presStyleCnt="4"/>
      <dgm:spPr/>
      <dgm:t>
        <a:bodyPr/>
        <a:lstStyle/>
        <a:p>
          <a:endParaRPr lang="pt-PT"/>
        </a:p>
      </dgm:t>
    </dgm:pt>
    <dgm:pt modelId="{02A7B82C-135A-48C2-8240-10DF451C7A98}" type="pres">
      <dgm:prSet presAssocID="{0859D9C3-D577-4526-9789-F13262209745}" presName="connTx" presStyleLbl="parChTrans1D2" presStyleIdx="0" presStyleCnt="4"/>
      <dgm:spPr/>
      <dgm:t>
        <a:bodyPr/>
        <a:lstStyle/>
        <a:p>
          <a:endParaRPr lang="pt-PT"/>
        </a:p>
      </dgm:t>
    </dgm:pt>
    <dgm:pt modelId="{E7B595F0-2F99-47EA-A9EC-8A29BE3E229E}" type="pres">
      <dgm:prSet presAssocID="{4585E753-D177-4E4F-9B06-181B48C7BA83}" presName="root2" presStyleCnt="0"/>
      <dgm:spPr/>
    </dgm:pt>
    <dgm:pt modelId="{0F223507-4537-40D8-A315-6691476C84E5}" type="pres">
      <dgm:prSet presAssocID="{4585E753-D177-4E4F-9B06-181B48C7BA83}" presName="LevelTwoTextNode" presStyleLbl="node2" presStyleIdx="0" presStyleCnt="4" custScaleX="246477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E4F7972D-F679-475F-8892-F67306DF274E}" type="pres">
      <dgm:prSet presAssocID="{4585E753-D177-4E4F-9B06-181B48C7BA83}" presName="level3hierChild" presStyleCnt="0"/>
      <dgm:spPr/>
    </dgm:pt>
    <dgm:pt modelId="{D6C059D2-C904-4861-9416-7818032D44BD}" type="pres">
      <dgm:prSet presAssocID="{4DC1CCFA-FE67-4E33-BB72-BBCF3C0D07A1}" presName="conn2-1" presStyleLbl="parChTrans1D2" presStyleIdx="1" presStyleCnt="4"/>
      <dgm:spPr/>
      <dgm:t>
        <a:bodyPr/>
        <a:lstStyle/>
        <a:p>
          <a:endParaRPr lang="pt-PT"/>
        </a:p>
      </dgm:t>
    </dgm:pt>
    <dgm:pt modelId="{3A22B09B-C978-4ABB-A29A-D46F55D9EBB5}" type="pres">
      <dgm:prSet presAssocID="{4DC1CCFA-FE67-4E33-BB72-BBCF3C0D07A1}" presName="connTx" presStyleLbl="parChTrans1D2" presStyleIdx="1" presStyleCnt="4"/>
      <dgm:spPr/>
      <dgm:t>
        <a:bodyPr/>
        <a:lstStyle/>
        <a:p>
          <a:endParaRPr lang="pt-PT"/>
        </a:p>
      </dgm:t>
    </dgm:pt>
    <dgm:pt modelId="{8EB833EB-5E60-4E4C-90C3-5551468FAB99}" type="pres">
      <dgm:prSet presAssocID="{DDDF14F8-142E-4E3C-9117-928E18802F9D}" presName="root2" presStyleCnt="0"/>
      <dgm:spPr/>
    </dgm:pt>
    <dgm:pt modelId="{ED04CF3D-EA3A-4DDE-A4E5-A61497ECF63A}" type="pres">
      <dgm:prSet presAssocID="{DDDF14F8-142E-4E3C-9117-928E18802F9D}" presName="LevelTwoTextNode" presStyleLbl="node2" presStyleIdx="1" presStyleCnt="4" custScaleX="245593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9F408797-1903-41C7-B22E-CAEB0A82CA86}" type="pres">
      <dgm:prSet presAssocID="{DDDF14F8-142E-4E3C-9117-928E18802F9D}" presName="level3hierChild" presStyleCnt="0"/>
      <dgm:spPr/>
    </dgm:pt>
    <dgm:pt modelId="{42A5FF64-0624-4F2A-B3CA-05B9C6BA72FC}" type="pres">
      <dgm:prSet presAssocID="{B45CA203-BF26-4CFB-B4B1-8D40D1D6828F}" presName="conn2-1" presStyleLbl="parChTrans1D2" presStyleIdx="2" presStyleCnt="4"/>
      <dgm:spPr/>
      <dgm:t>
        <a:bodyPr/>
        <a:lstStyle/>
        <a:p>
          <a:endParaRPr lang="pt-PT"/>
        </a:p>
      </dgm:t>
    </dgm:pt>
    <dgm:pt modelId="{6B30DD14-16A9-44A9-A16C-EA27B02A45AF}" type="pres">
      <dgm:prSet presAssocID="{B45CA203-BF26-4CFB-B4B1-8D40D1D6828F}" presName="connTx" presStyleLbl="parChTrans1D2" presStyleIdx="2" presStyleCnt="4"/>
      <dgm:spPr/>
      <dgm:t>
        <a:bodyPr/>
        <a:lstStyle/>
        <a:p>
          <a:endParaRPr lang="pt-PT"/>
        </a:p>
      </dgm:t>
    </dgm:pt>
    <dgm:pt modelId="{750A18BF-C18A-47A4-9A70-DE17805B2B98}" type="pres">
      <dgm:prSet presAssocID="{36DE1901-BFAA-42DF-AD55-6E7F33B0A053}" presName="root2" presStyleCnt="0"/>
      <dgm:spPr/>
    </dgm:pt>
    <dgm:pt modelId="{4C0F7543-35A9-488B-8B66-9ED42A42DE9D}" type="pres">
      <dgm:prSet presAssocID="{36DE1901-BFAA-42DF-AD55-6E7F33B0A053}" presName="LevelTwoTextNode" presStyleLbl="node2" presStyleIdx="2" presStyleCnt="4" custScaleX="245593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AB1F97FE-1167-40C9-A5D2-7875B1A3E07D}" type="pres">
      <dgm:prSet presAssocID="{36DE1901-BFAA-42DF-AD55-6E7F33B0A053}" presName="level3hierChild" presStyleCnt="0"/>
      <dgm:spPr/>
    </dgm:pt>
    <dgm:pt modelId="{082BE298-2A0A-41F9-A186-21E62997848D}" type="pres">
      <dgm:prSet presAssocID="{925A1F23-4BF8-4BA6-B0B0-51C2CD637327}" presName="conn2-1" presStyleLbl="parChTrans1D2" presStyleIdx="3" presStyleCnt="4"/>
      <dgm:spPr/>
      <dgm:t>
        <a:bodyPr/>
        <a:lstStyle/>
        <a:p>
          <a:endParaRPr lang="pt-PT"/>
        </a:p>
      </dgm:t>
    </dgm:pt>
    <dgm:pt modelId="{CAAF82BC-37CC-4653-9E2F-13A738D0E31C}" type="pres">
      <dgm:prSet presAssocID="{925A1F23-4BF8-4BA6-B0B0-51C2CD637327}" presName="connTx" presStyleLbl="parChTrans1D2" presStyleIdx="3" presStyleCnt="4"/>
      <dgm:spPr/>
      <dgm:t>
        <a:bodyPr/>
        <a:lstStyle/>
        <a:p>
          <a:endParaRPr lang="pt-PT"/>
        </a:p>
      </dgm:t>
    </dgm:pt>
    <dgm:pt modelId="{BB6BBDBE-C7C6-4FFA-A56A-ADF893BC8887}" type="pres">
      <dgm:prSet presAssocID="{D9254F6D-98FD-45C9-AE44-DEED07986775}" presName="root2" presStyleCnt="0"/>
      <dgm:spPr/>
    </dgm:pt>
    <dgm:pt modelId="{50BF7A64-F45F-4EAC-A6AE-FC179AC6FF4A}" type="pres">
      <dgm:prSet presAssocID="{D9254F6D-98FD-45C9-AE44-DEED07986775}" presName="LevelTwoTextNode" presStyleLbl="node2" presStyleIdx="3" presStyleCnt="4" custScaleX="245593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2FBBF65E-4CD3-43F3-8B96-C147D5C63A98}" type="pres">
      <dgm:prSet presAssocID="{D9254F6D-98FD-45C9-AE44-DEED07986775}" presName="level3hierChild" presStyleCnt="0"/>
      <dgm:spPr/>
    </dgm:pt>
  </dgm:ptLst>
  <dgm:cxnLst>
    <dgm:cxn modelId="{D1F79E38-759D-4D79-9371-05C68408E505}" type="presOf" srcId="{925A1F23-4BF8-4BA6-B0B0-51C2CD637327}" destId="{CAAF82BC-37CC-4653-9E2F-13A738D0E31C}" srcOrd="1" destOrd="0" presId="urn:microsoft.com/office/officeart/2008/layout/HorizontalMultiLevelHierarchy"/>
    <dgm:cxn modelId="{DA478F78-1B3F-463C-BDA2-C8577FA31BA1}" type="presOf" srcId="{4585E753-D177-4E4F-9B06-181B48C7BA83}" destId="{0F223507-4537-40D8-A315-6691476C84E5}" srcOrd="0" destOrd="0" presId="urn:microsoft.com/office/officeart/2008/layout/HorizontalMultiLevelHierarchy"/>
    <dgm:cxn modelId="{FFB8BC37-1517-48E3-90D5-8DBC75C7F728}" type="presOf" srcId="{0859D9C3-D577-4526-9789-F13262209745}" destId="{6B5544B4-CAC1-4035-815C-128B4EECBDA9}" srcOrd="0" destOrd="0" presId="urn:microsoft.com/office/officeart/2008/layout/HorizontalMultiLevelHierarchy"/>
    <dgm:cxn modelId="{61B99D67-F282-47F6-8F82-C79C1AA5BBC2}" type="presOf" srcId="{E14FBBEF-D893-4C04-87FC-BA9AED97A429}" destId="{8B836743-9843-4EFA-9015-FCDA4C8BA0FF}" srcOrd="0" destOrd="0" presId="urn:microsoft.com/office/officeart/2008/layout/HorizontalMultiLevelHierarchy"/>
    <dgm:cxn modelId="{5FE91563-BE1D-485C-960C-8092B4E343ED}" type="presOf" srcId="{B45CA203-BF26-4CFB-B4B1-8D40D1D6828F}" destId="{6B30DD14-16A9-44A9-A16C-EA27B02A45AF}" srcOrd="1" destOrd="0" presId="urn:microsoft.com/office/officeart/2008/layout/HorizontalMultiLevelHierarchy"/>
    <dgm:cxn modelId="{94C55440-64F4-4AB8-94C5-7BAF42BF52C8}" type="presOf" srcId="{B45CA203-BF26-4CFB-B4B1-8D40D1D6828F}" destId="{42A5FF64-0624-4F2A-B3CA-05B9C6BA72FC}" srcOrd="0" destOrd="0" presId="urn:microsoft.com/office/officeart/2008/layout/HorizontalMultiLevelHierarchy"/>
    <dgm:cxn modelId="{70ABDEF2-B2D4-45D0-9821-C782CE592DB6}" type="presOf" srcId="{36DE1901-BFAA-42DF-AD55-6E7F33B0A053}" destId="{4C0F7543-35A9-488B-8B66-9ED42A42DE9D}" srcOrd="0" destOrd="0" presId="urn:microsoft.com/office/officeart/2008/layout/HorizontalMultiLevelHierarchy"/>
    <dgm:cxn modelId="{EE686A7E-CB47-4022-95B1-3F108D3AD18E}" type="presOf" srcId="{D9254F6D-98FD-45C9-AE44-DEED07986775}" destId="{50BF7A64-F45F-4EAC-A6AE-FC179AC6FF4A}" srcOrd="0" destOrd="0" presId="urn:microsoft.com/office/officeart/2008/layout/HorizontalMultiLevelHierarchy"/>
    <dgm:cxn modelId="{4789CAE4-E36D-4B0D-A8A0-F70826C173C2}" type="presOf" srcId="{DDDF14F8-142E-4E3C-9117-928E18802F9D}" destId="{ED04CF3D-EA3A-4DDE-A4E5-A61497ECF63A}" srcOrd="0" destOrd="0" presId="urn:microsoft.com/office/officeart/2008/layout/HorizontalMultiLevelHierarchy"/>
    <dgm:cxn modelId="{46B6C6A6-5070-4065-A4C8-7B548B5EDC4E}" type="presOf" srcId="{0859D9C3-D577-4526-9789-F13262209745}" destId="{02A7B82C-135A-48C2-8240-10DF451C7A98}" srcOrd="1" destOrd="0" presId="urn:microsoft.com/office/officeart/2008/layout/HorizontalMultiLevelHierarchy"/>
    <dgm:cxn modelId="{D50400FF-CE97-41CC-AE58-B515901850D3}" type="presOf" srcId="{B0140155-4EF7-42EE-BBE6-B058F5727C79}" destId="{16B10253-94DD-4EE1-907A-74D8C494CD43}" srcOrd="0" destOrd="0" presId="urn:microsoft.com/office/officeart/2008/layout/HorizontalMultiLevelHierarchy"/>
    <dgm:cxn modelId="{2EBD42F6-DCA9-43B7-9845-9B2AE55EE592}" type="presOf" srcId="{925A1F23-4BF8-4BA6-B0B0-51C2CD637327}" destId="{082BE298-2A0A-41F9-A186-21E62997848D}" srcOrd="0" destOrd="0" presId="urn:microsoft.com/office/officeart/2008/layout/HorizontalMultiLevelHierarchy"/>
    <dgm:cxn modelId="{36E3801B-5A49-4993-98E7-BB4BBE2BEA5B}" type="presOf" srcId="{4DC1CCFA-FE67-4E33-BB72-BBCF3C0D07A1}" destId="{D6C059D2-C904-4861-9416-7818032D44BD}" srcOrd="0" destOrd="0" presId="urn:microsoft.com/office/officeart/2008/layout/HorizontalMultiLevelHierarchy"/>
    <dgm:cxn modelId="{098FAD07-0472-4230-8B5E-7BEB0E181992}" srcId="{B0140155-4EF7-42EE-BBE6-B058F5727C79}" destId="{4585E753-D177-4E4F-9B06-181B48C7BA83}" srcOrd="0" destOrd="0" parTransId="{0859D9C3-D577-4526-9789-F13262209745}" sibTransId="{38CF8666-F6FE-485A-98E8-B3229386D4B1}"/>
    <dgm:cxn modelId="{07336F96-741D-459A-8D3C-27290A1933BF}" srcId="{B0140155-4EF7-42EE-BBE6-B058F5727C79}" destId="{36DE1901-BFAA-42DF-AD55-6E7F33B0A053}" srcOrd="2" destOrd="0" parTransId="{B45CA203-BF26-4CFB-B4B1-8D40D1D6828F}" sibTransId="{D3CD89F6-2A05-4238-82E2-1C48AF0963E8}"/>
    <dgm:cxn modelId="{5E45DB02-BFEC-4A00-A1CF-B0D70169D190}" srcId="{B0140155-4EF7-42EE-BBE6-B058F5727C79}" destId="{DDDF14F8-142E-4E3C-9117-928E18802F9D}" srcOrd="1" destOrd="0" parTransId="{4DC1CCFA-FE67-4E33-BB72-BBCF3C0D07A1}" sibTransId="{3D26D09B-4C92-4777-82F6-DC7E0EA5BBCD}"/>
    <dgm:cxn modelId="{F691E520-FDEF-4190-A4D3-2DC674C575A7}" srcId="{E14FBBEF-D893-4C04-87FC-BA9AED97A429}" destId="{B0140155-4EF7-42EE-BBE6-B058F5727C79}" srcOrd="0" destOrd="0" parTransId="{CE8D7880-81D9-4EF0-BC8D-AF04D693E543}" sibTransId="{2A9A68A8-ACE5-4D8B-8AA9-26BC457776CF}"/>
    <dgm:cxn modelId="{94100C16-E357-4B87-9D75-4E07C04ABBA2}" type="presOf" srcId="{4DC1CCFA-FE67-4E33-BB72-BBCF3C0D07A1}" destId="{3A22B09B-C978-4ABB-A29A-D46F55D9EBB5}" srcOrd="1" destOrd="0" presId="urn:microsoft.com/office/officeart/2008/layout/HorizontalMultiLevelHierarchy"/>
    <dgm:cxn modelId="{E9589F6D-AF42-47C7-BA83-4EED8EE05C85}" srcId="{B0140155-4EF7-42EE-BBE6-B058F5727C79}" destId="{D9254F6D-98FD-45C9-AE44-DEED07986775}" srcOrd="3" destOrd="0" parTransId="{925A1F23-4BF8-4BA6-B0B0-51C2CD637327}" sibTransId="{F113E6D4-5C0B-4FAC-88C7-770DF5399135}"/>
    <dgm:cxn modelId="{09E3F431-EC4A-449F-A68D-365A2003F69F}" type="presParOf" srcId="{8B836743-9843-4EFA-9015-FCDA4C8BA0FF}" destId="{796CDD92-ED02-4765-9FD6-EDFF5A366D3E}" srcOrd="0" destOrd="0" presId="urn:microsoft.com/office/officeart/2008/layout/HorizontalMultiLevelHierarchy"/>
    <dgm:cxn modelId="{E52680DB-46B1-4241-B63F-0FA0D3E3A1DC}" type="presParOf" srcId="{796CDD92-ED02-4765-9FD6-EDFF5A366D3E}" destId="{16B10253-94DD-4EE1-907A-74D8C494CD43}" srcOrd="0" destOrd="0" presId="urn:microsoft.com/office/officeart/2008/layout/HorizontalMultiLevelHierarchy"/>
    <dgm:cxn modelId="{BD24C9E6-92AB-44B8-A5CE-E3D644BCBFDD}" type="presParOf" srcId="{796CDD92-ED02-4765-9FD6-EDFF5A366D3E}" destId="{36056A6E-704B-44D4-AA83-C18E5EB84407}" srcOrd="1" destOrd="0" presId="urn:microsoft.com/office/officeart/2008/layout/HorizontalMultiLevelHierarchy"/>
    <dgm:cxn modelId="{A9A9B25F-F217-4C17-906A-7DF6A90608C5}" type="presParOf" srcId="{36056A6E-704B-44D4-AA83-C18E5EB84407}" destId="{6B5544B4-CAC1-4035-815C-128B4EECBDA9}" srcOrd="0" destOrd="0" presId="urn:microsoft.com/office/officeart/2008/layout/HorizontalMultiLevelHierarchy"/>
    <dgm:cxn modelId="{C14ABF80-351F-4B90-AB50-0E011C938CBC}" type="presParOf" srcId="{6B5544B4-CAC1-4035-815C-128B4EECBDA9}" destId="{02A7B82C-135A-48C2-8240-10DF451C7A98}" srcOrd="0" destOrd="0" presId="urn:microsoft.com/office/officeart/2008/layout/HorizontalMultiLevelHierarchy"/>
    <dgm:cxn modelId="{B95381CE-433C-401B-BCCD-A0890993A05D}" type="presParOf" srcId="{36056A6E-704B-44D4-AA83-C18E5EB84407}" destId="{E7B595F0-2F99-47EA-A9EC-8A29BE3E229E}" srcOrd="1" destOrd="0" presId="urn:microsoft.com/office/officeart/2008/layout/HorizontalMultiLevelHierarchy"/>
    <dgm:cxn modelId="{6EB1755F-F980-4301-AE12-B0AFD5FEC304}" type="presParOf" srcId="{E7B595F0-2F99-47EA-A9EC-8A29BE3E229E}" destId="{0F223507-4537-40D8-A315-6691476C84E5}" srcOrd="0" destOrd="0" presId="urn:microsoft.com/office/officeart/2008/layout/HorizontalMultiLevelHierarchy"/>
    <dgm:cxn modelId="{A5A3A176-A490-455E-9F26-759487B7E060}" type="presParOf" srcId="{E7B595F0-2F99-47EA-A9EC-8A29BE3E229E}" destId="{E4F7972D-F679-475F-8892-F67306DF274E}" srcOrd="1" destOrd="0" presId="urn:microsoft.com/office/officeart/2008/layout/HorizontalMultiLevelHierarchy"/>
    <dgm:cxn modelId="{3B20E2B7-5BF6-4218-A273-C8903BE9ADCE}" type="presParOf" srcId="{36056A6E-704B-44D4-AA83-C18E5EB84407}" destId="{D6C059D2-C904-4861-9416-7818032D44BD}" srcOrd="2" destOrd="0" presId="urn:microsoft.com/office/officeart/2008/layout/HorizontalMultiLevelHierarchy"/>
    <dgm:cxn modelId="{0727C186-BCC9-49F7-B0E3-CCBBF6BE968F}" type="presParOf" srcId="{D6C059D2-C904-4861-9416-7818032D44BD}" destId="{3A22B09B-C978-4ABB-A29A-D46F55D9EBB5}" srcOrd="0" destOrd="0" presId="urn:microsoft.com/office/officeart/2008/layout/HorizontalMultiLevelHierarchy"/>
    <dgm:cxn modelId="{64CF43E9-FE28-4A7A-9BCD-6EA0E0D253FA}" type="presParOf" srcId="{36056A6E-704B-44D4-AA83-C18E5EB84407}" destId="{8EB833EB-5E60-4E4C-90C3-5551468FAB99}" srcOrd="3" destOrd="0" presId="urn:microsoft.com/office/officeart/2008/layout/HorizontalMultiLevelHierarchy"/>
    <dgm:cxn modelId="{DDBB9EC4-6894-4C3C-B256-B4E657C58EF3}" type="presParOf" srcId="{8EB833EB-5E60-4E4C-90C3-5551468FAB99}" destId="{ED04CF3D-EA3A-4DDE-A4E5-A61497ECF63A}" srcOrd="0" destOrd="0" presId="urn:microsoft.com/office/officeart/2008/layout/HorizontalMultiLevelHierarchy"/>
    <dgm:cxn modelId="{26AD3BE4-818F-4EA1-85BB-6BDF2D8708E1}" type="presParOf" srcId="{8EB833EB-5E60-4E4C-90C3-5551468FAB99}" destId="{9F408797-1903-41C7-B22E-CAEB0A82CA86}" srcOrd="1" destOrd="0" presId="urn:microsoft.com/office/officeart/2008/layout/HorizontalMultiLevelHierarchy"/>
    <dgm:cxn modelId="{D419C05D-3FBB-432F-A2AB-427BB0715395}" type="presParOf" srcId="{36056A6E-704B-44D4-AA83-C18E5EB84407}" destId="{42A5FF64-0624-4F2A-B3CA-05B9C6BA72FC}" srcOrd="4" destOrd="0" presId="urn:microsoft.com/office/officeart/2008/layout/HorizontalMultiLevelHierarchy"/>
    <dgm:cxn modelId="{8E583391-F271-4D35-8D0B-DA1A08897D2E}" type="presParOf" srcId="{42A5FF64-0624-4F2A-B3CA-05B9C6BA72FC}" destId="{6B30DD14-16A9-44A9-A16C-EA27B02A45AF}" srcOrd="0" destOrd="0" presId="urn:microsoft.com/office/officeart/2008/layout/HorizontalMultiLevelHierarchy"/>
    <dgm:cxn modelId="{52FDD218-710E-4C5F-A7B8-302CC1DA8982}" type="presParOf" srcId="{36056A6E-704B-44D4-AA83-C18E5EB84407}" destId="{750A18BF-C18A-47A4-9A70-DE17805B2B98}" srcOrd="5" destOrd="0" presId="urn:microsoft.com/office/officeart/2008/layout/HorizontalMultiLevelHierarchy"/>
    <dgm:cxn modelId="{37D2910D-39C4-4916-A2D2-DB0E7B222D4D}" type="presParOf" srcId="{750A18BF-C18A-47A4-9A70-DE17805B2B98}" destId="{4C0F7543-35A9-488B-8B66-9ED42A42DE9D}" srcOrd="0" destOrd="0" presId="urn:microsoft.com/office/officeart/2008/layout/HorizontalMultiLevelHierarchy"/>
    <dgm:cxn modelId="{68207461-C6D1-422B-BDB0-81FE365D515C}" type="presParOf" srcId="{750A18BF-C18A-47A4-9A70-DE17805B2B98}" destId="{AB1F97FE-1167-40C9-A5D2-7875B1A3E07D}" srcOrd="1" destOrd="0" presId="urn:microsoft.com/office/officeart/2008/layout/HorizontalMultiLevelHierarchy"/>
    <dgm:cxn modelId="{50EC2114-958E-4B55-BCBD-566FAE005399}" type="presParOf" srcId="{36056A6E-704B-44D4-AA83-C18E5EB84407}" destId="{082BE298-2A0A-41F9-A186-21E62997848D}" srcOrd="6" destOrd="0" presId="urn:microsoft.com/office/officeart/2008/layout/HorizontalMultiLevelHierarchy"/>
    <dgm:cxn modelId="{E6AA4688-3733-46D7-9224-6EC440125769}" type="presParOf" srcId="{082BE298-2A0A-41F9-A186-21E62997848D}" destId="{CAAF82BC-37CC-4653-9E2F-13A738D0E31C}" srcOrd="0" destOrd="0" presId="urn:microsoft.com/office/officeart/2008/layout/HorizontalMultiLevelHierarchy"/>
    <dgm:cxn modelId="{6C669AF6-C000-46DB-BE39-4494AC0C1D80}" type="presParOf" srcId="{36056A6E-704B-44D4-AA83-C18E5EB84407}" destId="{BB6BBDBE-C7C6-4FFA-A56A-ADF893BC8887}" srcOrd="7" destOrd="0" presId="urn:microsoft.com/office/officeart/2008/layout/HorizontalMultiLevelHierarchy"/>
    <dgm:cxn modelId="{1D64FE6F-373C-4CDA-B5AA-0C020A11A5B8}" type="presParOf" srcId="{BB6BBDBE-C7C6-4FFA-A56A-ADF893BC8887}" destId="{50BF7A64-F45F-4EAC-A6AE-FC179AC6FF4A}" srcOrd="0" destOrd="0" presId="urn:microsoft.com/office/officeart/2008/layout/HorizontalMultiLevelHierarchy"/>
    <dgm:cxn modelId="{23E2F9C8-6068-4452-A067-64E5D17BEA8F}" type="presParOf" srcId="{BB6BBDBE-C7C6-4FFA-A56A-ADF893BC8887}" destId="{2FBBF65E-4CD3-43F3-8B96-C147D5C63A98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E14FBBEF-D893-4C04-87FC-BA9AED97A429}" type="doc">
      <dgm:prSet loTypeId="urn:microsoft.com/office/officeart/2005/8/layout/vList6" loCatId="list" qsTypeId="urn:microsoft.com/office/officeart/2005/8/quickstyle/simple1#11" qsCatId="simple" csTypeId="urn:microsoft.com/office/officeart/2005/8/colors/accent2_5" csCatId="accent2" phldr="1"/>
      <dgm:spPr/>
      <dgm:t>
        <a:bodyPr/>
        <a:lstStyle/>
        <a:p>
          <a:endParaRPr lang="pt-PT"/>
        </a:p>
      </dgm:t>
    </dgm:pt>
    <dgm:pt modelId="{4585E753-D177-4E4F-9B06-181B48C7BA83}">
      <dgm:prSet custT="1"/>
      <dgm:spPr/>
      <dgm:t>
        <a:bodyPr/>
        <a:lstStyle/>
        <a:p>
          <a:pPr algn="l"/>
          <a:r>
            <a:rPr lang="pt-PT" sz="1600" b="0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Projetos conjuntos: </a:t>
          </a:r>
          <a:r>
            <a:rPr lang="pt-PT" sz="1600" b="0" kern="1200" dirty="0" smtClean="0">
              <a:solidFill>
                <a:srgbClr val="991324"/>
              </a:solidFill>
              <a:latin typeface="Arial" charset="0"/>
              <a:cs typeface="Arial" charset="0"/>
            </a:rPr>
            <a:t>2.831 empresas envolvidas</a:t>
          </a:r>
          <a:endParaRPr lang="pt-PT" sz="1600" b="0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0859D9C3-D577-4526-9789-F13262209745}" type="parTrans" cxnId="{098FAD07-0472-4230-8B5E-7BEB0E181992}">
      <dgm:prSet/>
      <dgm:spPr/>
      <dgm:t>
        <a:bodyPr/>
        <a:lstStyle/>
        <a:p>
          <a:endParaRPr lang="pt-PT"/>
        </a:p>
      </dgm:t>
    </dgm:pt>
    <dgm:pt modelId="{38CF8666-F6FE-485A-98E8-B3229386D4B1}" type="sibTrans" cxnId="{098FAD07-0472-4230-8B5E-7BEB0E181992}">
      <dgm:prSet/>
      <dgm:spPr/>
      <dgm:t>
        <a:bodyPr/>
        <a:lstStyle/>
        <a:p>
          <a:endParaRPr lang="pt-PT"/>
        </a:p>
      </dgm:t>
    </dgm:pt>
    <dgm:pt modelId="{B0140155-4EF7-42EE-BBE6-B058F5727C79}">
      <dgm:prSet custT="1"/>
      <dgm:spPr/>
      <dgm:t>
        <a:bodyPr/>
        <a:lstStyle/>
        <a:p>
          <a:r>
            <a:rPr lang="pt-PT" sz="1400" kern="1200" dirty="0" smtClean="0">
              <a:latin typeface="Arial" pitchFamily="34" charset="0"/>
              <a:cs typeface="Arial" pitchFamily="34" charset="0"/>
            </a:rPr>
            <a:t>INTERNACIONALIZAÇÃO</a:t>
          </a:r>
          <a:endParaRPr lang="pt-PT" sz="1400" b="1" kern="1200" dirty="0">
            <a:solidFill>
              <a:schemeClr val="bg1"/>
            </a:solidFill>
            <a:latin typeface="Arial" pitchFamily="34" charset="0"/>
            <a:ea typeface="Geneva" charset="0"/>
            <a:cs typeface="Arial" pitchFamily="34" charset="0"/>
          </a:endParaRPr>
        </a:p>
      </dgm:t>
    </dgm:pt>
    <dgm:pt modelId="{CE8D7880-81D9-4EF0-BC8D-AF04D693E543}" type="parTrans" cxnId="{F691E520-FDEF-4190-A4D3-2DC674C575A7}">
      <dgm:prSet/>
      <dgm:spPr/>
      <dgm:t>
        <a:bodyPr/>
        <a:lstStyle/>
        <a:p>
          <a:endParaRPr lang="pt-PT"/>
        </a:p>
      </dgm:t>
    </dgm:pt>
    <dgm:pt modelId="{2A9A68A8-ACE5-4D8B-8AA9-26BC457776CF}" type="sibTrans" cxnId="{F691E520-FDEF-4190-A4D3-2DC674C575A7}">
      <dgm:prSet/>
      <dgm:spPr/>
      <dgm:t>
        <a:bodyPr/>
        <a:lstStyle/>
        <a:p>
          <a:endParaRPr lang="pt-PT"/>
        </a:p>
      </dgm:t>
    </dgm:pt>
    <dgm:pt modelId="{E099C35B-83F6-4C50-AB46-7A4BAFB55ADF}">
      <dgm:prSet custT="1"/>
      <dgm:spPr/>
      <dgm:t>
        <a:bodyPr/>
        <a:lstStyle/>
        <a:p>
          <a:r>
            <a:rPr lang="pt-PT" sz="1800" kern="1200" dirty="0" smtClean="0">
              <a:latin typeface="Arial" pitchFamily="34" charset="0"/>
              <a:cs typeface="Arial" pitchFamily="34" charset="0"/>
            </a:rPr>
            <a:t>Vales</a:t>
          </a:r>
          <a:endParaRPr lang="pt-PT" sz="1800" kern="1200" dirty="0">
            <a:latin typeface="Arial" pitchFamily="34" charset="0"/>
            <a:cs typeface="Arial" pitchFamily="34" charset="0"/>
          </a:endParaRPr>
        </a:p>
      </dgm:t>
    </dgm:pt>
    <dgm:pt modelId="{F618ABE4-2707-4524-BC4D-52E693D2643B}" type="parTrans" cxnId="{9F55E3F1-C838-4042-9BA0-BF5CD07D42D2}">
      <dgm:prSet/>
      <dgm:spPr/>
      <dgm:t>
        <a:bodyPr/>
        <a:lstStyle/>
        <a:p>
          <a:endParaRPr lang="pt-PT"/>
        </a:p>
      </dgm:t>
    </dgm:pt>
    <dgm:pt modelId="{5D119D81-9513-4ABE-99E6-3824F53401EA}" type="sibTrans" cxnId="{9F55E3F1-C838-4042-9BA0-BF5CD07D42D2}">
      <dgm:prSet/>
      <dgm:spPr/>
      <dgm:t>
        <a:bodyPr/>
        <a:lstStyle/>
        <a:p>
          <a:endParaRPr lang="pt-PT"/>
        </a:p>
      </dgm:t>
    </dgm:pt>
    <dgm:pt modelId="{93AE06AF-545C-4D83-AAB6-639A21330091}">
      <dgm:prSet custT="1"/>
      <dgm:spPr/>
      <dgm:t>
        <a:bodyPr/>
        <a:lstStyle/>
        <a:p>
          <a:r>
            <a:rPr lang="pt-PT" sz="1800" kern="1200" dirty="0" smtClean="0">
              <a:latin typeface="Arial" pitchFamily="34" charset="0"/>
              <a:cs typeface="Arial" pitchFamily="34" charset="0"/>
            </a:rPr>
            <a:t>Criação</a:t>
          </a:r>
        </a:p>
        <a:p>
          <a:r>
            <a:rPr lang="pt-PT" sz="1800" kern="1200" dirty="0" smtClean="0">
              <a:latin typeface="Arial" pitchFamily="34" charset="0"/>
              <a:cs typeface="Arial" pitchFamily="34" charset="0"/>
            </a:rPr>
            <a:t> Emprego</a:t>
          </a:r>
          <a:endParaRPr lang="pt-PT" sz="1800" kern="1200" dirty="0">
            <a:latin typeface="Arial" pitchFamily="34" charset="0"/>
            <a:cs typeface="Arial" pitchFamily="34" charset="0"/>
          </a:endParaRPr>
        </a:p>
      </dgm:t>
    </dgm:pt>
    <dgm:pt modelId="{BB056337-08C0-4C91-A0A6-8826B10C8358}" type="parTrans" cxnId="{9AFAAFEF-7926-4216-A31C-21E73C079556}">
      <dgm:prSet/>
      <dgm:spPr/>
      <dgm:t>
        <a:bodyPr/>
        <a:lstStyle/>
        <a:p>
          <a:endParaRPr lang="pt-PT"/>
        </a:p>
      </dgm:t>
    </dgm:pt>
    <dgm:pt modelId="{380CF6D1-65B3-4295-91DC-9DD68BB030E0}" type="sibTrans" cxnId="{9AFAAFEF-7926-4216-A31C-21E73C079556}">
      <dgm:prSet/>
      <dgm:spPr/>
      <dgm:t>
        <a:bodyPr/>
        <a:lstStyle/>
        <a:p>
          <a:endParaRPr lang="pt-PT"/>
        </a:p>
      </dgm:t>
    </dgm:pt>
    <dgm:pt modelId="{5BAC368F-E2E3-47BF-9856-3A69675D65D4}">
      <dgm:prSet custT="1"/>
      <dgm:spPr/>
      <dgm:t>
        <a:bodyPr/>
        <a:lstStyle/>
        <a:p>
          <a:pPr algn="l"/>
          <a:r>
            <a:rPr lang="pt-PT" sz="1600" b="0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Participaram em cerca de 330 ações de promoção internacional</a:t>
          </a:r>
          <a:endParaRPr lang="pt-PT" sz="1600" b="0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B3E8A012-F7BE-4FEF-9501-8D8706BCD6BA}" type="parTrans" cxnId="{16E666E9-6FC2-4C89-9B55-DDF8113E660F}">
      <dgm:prSet/>
      <dgm:spPr/>
      <dgm:t>
        <a:bodyPr/>
        <a:lstStyle/>
        <a:p>
          <a:endParaRPr lang="pt-PT"/>
        </a:p>
      </dgm:t>
    </dgm:pt>
    <dgm:pt modelId="{AFDC6F23-28A5-4EB6-A667-817F59818652}" type="sibTrans" cxnId="{16E666E9-6FC2-4C89-9B55-DDF8113E660F}">
      <dgm:prSet/>
      <dgm:spPr/>
      <dgm:t>
        <a:bodyPr/>
        <a:lstStyle/>
        <a:p>
          <a:endParaRPr lang="pt-PT"/>
        </a:p>
      </dgm:t>
    </dgm:pt>
    <dgm:pt modelId="{3ECCBDB5-97E3-491D-B71B-6605A8CB4CB9}">
      <dgm:prSet custT="1"/>
      <dgm:spPr/>
      <dgm:t>
        <a:bodyPr/>
        <a:lstStyle/>
        <a:p>
          <a:pPr algn="l"/>
          <a:r>
            <a:rPr lang="pt-PT" sz="1800" b="0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428 Vales aprovados</a:t>
          </a:r>
          <a:endParaRPr lang="pt-PT" sz="1800" b="0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5CD6191F-6047-487F-848F-C1D479979274}" type="parTrans" cxnId="{925876A4-0649-4F7F-87A8-CA0675D8CCBF}">
      <dgm:prSet/>
      <dgm:spPr/>
      <dgm:t>
        <a:bodyPr/>
        <a:lstStyle/>
        <a:p>
          <a:endParaRPr lang="pt-PT"/>
        </a:p>
      </dgm:t>
    </dgm:pt>
    <dgm:pt modelId="{33EE3124-B985-4046-AB48-4948A4F73912}" type="sibTrans" cxnId="{925876A4-0649-4F7F-87A8-CA0675D8CCBF}">
      <dgm:prSet/>
      <dgm:spPr/>
      <dgm:t>
        <a:bodyPr/>
        <a:lstStyle/>
        <a:p>
          <a:endParaRPr lang="pt-PT"/>
        </a:p>
      </dgm:t>
    </dgm:pt>
    <dgm:pt modelId="{4B546077-3A97-4414-BAA0-E0871A710528}">
      <dgm:prSet custT="1"/>
      <dgm:spPr/>
      <dgm:t>
        <a:bodyPr/>
        <a:lstStyle/>
        <a:p>
          <a:pPr algn="l"/>
          <a:r>
            <a:rPr lang="pt-PT" sz="1800" b="0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Apoio direto: 583 postos de trabalho</a:t>
          </a:r>
          <a:endParaRPr lang="pt-PT" sz="1800" kern="1200" dirty="0"/>
        </a:p>
      </dgm:t>
    </dgm:pt>
    <dgm:pt modelId="{C8DFAC3D-944D-4CC4-B3D1-77A75610CE36}" type="parTrans" cxnId="{4B60FC76-51E1-4CE2-825B-62F7A0D29664}">
      <dgm:prSet/>
      <dgm:spPr/>
      <dgm:t>
        <a:bodyPr/>
        <a:lstStyle/>
        <a:p>
          <a:endParaRPr lang="pt-PT"/>
        </a:p>
      </dgm:t>
    </dgm:pt>
    <dgm:pt modelId="{71105EA8-8C5F-4944-A053-B1D804AE4CE3}" type="sibTrans" cxnId="{4B60FC76-51E1-4CE2-825B-62F7A0D29664}">
      <dgm:prSet/>
      <dgm:spPr/>
      <dgm:t>
        <a:bodyPr/>
        <a:lstStyle/>
        <a:p>
          <a:endParaRPr lang="pt-PT"/>
        </a:p>
      </dgm:t>
    </dgm:pt>
    <dgm:pt modelId="{8EB510EC-E894-40C0-B041-68667ADAB838}">
      <dgm:prSet custT="1"/>
      <dgm:spPr/>
      <dgm:t>
        <a:bodyPr/>
        <a:lstStyle/>
        <a:p>
          <a:pPr algn="l"/>
          <a:r>
            <a:rPr lang="pt-PT" sz="1800" b="0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Em decisão 1.334 Vales</a:t>
          </a:r>
          <a:endParaRPr lang="pt-PT" sz="1800" b="0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8B475781-B18F-45DB-B6C9-994F89CA7C10}" type="parTrans" cxnId="{07278BAE-C402-4BFF-AD7F-D6009C87B526}">
      <dgm:prSet/>
      <dgm:spPr/>
      <dgm:t>
        <a:bodyPr/>
        <a:lstStyle/>
        <a:p>
          <a:endParaRPr lang="pt-PT"/>
        </a:p>
      </dgm:t>
    </dgm:pt>
    <dgm:pt modelId="{98DE8321-7230-4400-8667-3D5124C882A0}" type="sibTrans" cxnId="{07278BAE-C402-4BFF-AD7F-D6009C87B526}">
      <dgm:prSet/>
      <dgm:spPr/>
      <dgm:t>
        <a:bodyPr/>
        <a:lstStyle/>
        <a:p>
          <a:endParaRPr lang="pt-PT"/>
        </a:p>
      </dgm:t>
    </dgm:pt>
    <dgm:pt modelId="{337010F6-9AE4-4F8B-9636-77593C08B835}">
      <dgm:prSet custT="1"/>
      <dgm:spPr/>
      <dgm:t>
        <a:bodyPr/>
        <a:lstStyle/>
        <a:p>
          <a:pPr algn="l"/>
          <a:endParaRPr lang="pt-PT" sz="1600" b="0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E90DA6F9-B7F0-4A67-BB79-07A336BB5357}" type="parTrans" cxnId="{F63442D7-686B-4A07-AA74-408979BC8837}">
      <dgm:prSet/>
      <dgm:spPr/>
      <dgm:t>
        <a:bodyPr/>
        <a:lstStyle/>
        <a:p>
          <a:endParaRPr lang="pt-PT"/>
        </a:p>
      </dgm:t>
    </dgm:pt>
    <dgm:pt modelId="{C488A78B-B24C-4068-9F3E-A6D550F762CC}" type="sibTrans" cxnId="{F63442D7-686B-4A07-AA74-408979BC8837}">
      <dgm:prSet/>
      <dgm:spPr/>
      <dgm:t>
        <a:bodyPr/>
        <a:lstStyle/>
        <a:p>
          <a:endParaRPr lang="pt-PT"/>
        </a:p>
      </dgm:t>
    </dgm:pt>
    <dgm:pt modelId="{A0273EFE-1B8A-4ACA-98AE-EE5CEB1A8BF3}">
      <dgm:prSet custT="1"/>
      <dgm:spPr/>
      <dgm:t>
        <a:bodyPr/>
        <a:lstStyle/>
        <a:p>
          <a:pPr algn="l"/>
          <a:endParaRPr lang="pt-PT" sz="1000" b="0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680877D8-964A-433C-BEA0-28FB5D28B47D}" type="parTrans" cxnId="{BA9C4BDF-933E-4754-BA4B-4EFE577D0303}">
      <dgm:prSet/>
      <dgm:spPr/>
      <dgm:t>
        <a:bodyPr/>
        <a:lstStyle/>
        <a:p>
          <a:endParaRPr lang="pt-PT"/>
        </a:p>
      </dgm:t>
    </dgm:pt>
    <dgm:pt modelId="{52F0DE69-0F26-4735-8E11-D638564FA7CB}" type="sibTrans" cxnId="{BA9C4BDF-933E-4754-BA4B-4EFE577D0303}">
      <dgm:prSet/>
      <dgm:spPr/>
      <dgm:t>
        <a:bodyPr/>
        <a:lstStyle/>
        <a:p>
          <a:endParaRPr lang="pt-PT"/>
        </a:p>
      </dgm:t>
    </dgm:pt>
    <dgm:pt modelId="{186EF952-55DF-446C-A91F-93E45FC16607}">
      <dgm:prSet custT="1"/>
      <dgm:spPr/>
      <dgm:t>
        <a:bodyPr/>
        <a:lstStyle/>
        <a:p>
          <a:pPr algn="l"/>
          <a:r>
            <a:rPr lang="pt-PT" sz="1800" b="0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Variação de postos de trabalho: 2.300</a:t>
          </a:r>
          <a:endParaRPr lang="pt-PT" sz="1800" kern="1200" dirty="0"/>
        </a:p>
      </dgm:t>
    </dgm:pt>
    <dgm:pt modelId="{3E311716-A4BC-4205-A06B-D6EA2BE7D095}" type="parTrans" cxnId="{0743BB7E-2B13-4B95-A524-4AB8F7D7B003}">
      <dgm:prSet/>
      <dgm:spPr/>
      <dgm:t>
        <a:bodyPr/>
        <a:lstStyle/>
        <a:p>
          <a:endParaRPr lang="pt-PT"/>
        </a:p>
      </dgm:t>
    </dgm:pt>
    <dgm:pt modelId="{71C8BC8D-2B5D-4BE6-9B30-4931DC51D9B5}" type="sibTrans" cxnId="{0743BB7E-2B13-4B95-A524-4AB8F7D7B003}">
      <dgm:prSet/>
      <dgm:spPr/>
      <dgm:t>
        <a:bodyPr/>
        <a:lstStyle/>
        <a:p>
          <a:endParaRPr lang="pt-PT"/>
        </a:p>
      </dgm:t>
    </dgm:pt>
    <dgm:pt modelId="{DAFAF3B4-CC59-4247-BF1D-360F1A7EC438}">
      <dgm:prSet custT="1"/>
      <dgm:spPr/>
      <dgm:t>
        <a:bodyPr/>
        <a:lstStyle/>
        <a:p>
          <a:pPr algn="l"/>
          <a:endParaRPr lang="pt-PT" sz="1800" kern="1200" dirty="0"/>
        </a:p>
      </dgm:t>
    </dgm:pt>
    <dgm:pt modelId="{18108F06-3393-4A19-9F09-33B5D330E4F3}" type="parTrans" cxnId="{E1E6CAB9-8CE5-4590-9A8F-6B65635A2E57}">
      <dgm:prSet/>
      <dgm:spPr/>
      <dgm:t>
        <a:bodyPr/>
        <a:lstStyle/>
        <a:p>
          <a:endParaRPr lang="pt-PT"/>
        </a:p>
      </dgm:t>
    </dgm:pt>
    <dgm:pt modelId="{C693D8E8-E974-4C58-B464-ECBE04602428}" type="sibTrans" cxnId="{E1E6CAB9-8CE5-4590-9A8F-6B65635A2E57}">
      <dgm:prSet/>
      <dgm:spPr/>
      <dgm:t>
        <a:bodyPr/>
        <a:lstStyle/>
        <a:p>
          <a:endParaRPr lang="pt-PT"/>
        </a:p>
      </dgm:t>
    </dgm:pt>
    <dgm:pt modelId="{30F8DC95-7FAB-4CE0-8B91-2FB55FBB7551}" type="pres">
      <dgm:prSet presAssocID="{E14FBBEF-D893-4C04-87FC-BA9AED97A429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pt-PT"/>
        </a:p>
      </dgm:t>
    </dgm:pt>
    <dgm:pt modelId="{B1270D65-8388-4C04-B257-4A5054B85E9E}" type="pres">
      <dgm:prSet presAssocID="{B0140155-4EF7-42EE-BBE6-B058F5727C79}" presName="linNode" presStyleCnt="0"/>
      <dgm:spPr/>
    </dgm:pt>
    <dgm:pt modelId="{5EFDDC35-E431-4A83-8F2E-375C0CE20219}" type="pres">
      <dgm:prSet presAssocID="{B0140155-4EF7-42EE-BBE6-B058F5727C79}" presName="parent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F4A0939D-9A33-442F-A4A6-685470FD1F07}" type="pres">
      <dgm:prSet presAssocID="{B0140155-4EF7-42EE-BBE6-B058F5727C79}" presName="childShp" presStyleLbl="bgAccFollowNode1" presStyleIdx="0" presStyleCnt="3" custScaleX="147085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2EA06EF0-A145-4DA9-9A65-1A8C53799CA1}" type="pres">
      <dgm:prSet presAssocID="{2A9A68A8-ACE5-4D8B-8AA9-26BC457776CF}" presName="spacing" presStyleCnt="0"/>
      <dgm:spPr/>
    </dgm:pt>
    <dgm:pt modelId="{0F9AAB71-2632-4740-BE53-82857C85ECC0}" type="pres">
      <dgm:prSet presAssocID="{E099C35B-83F6-4C50-AB46-7A4BAFB55ADF}" presName="linNode" presStyleCnt="0"/>
      <dgm:spPr/>
    </dgm:pt>
    <dgm:pt modelId="{494A905B-51B7-4944-9F3D-29C7C303FBDC}" type="pres">
      <dgm:prSet presAssocID="{E099C35B-83F6-4C50-AB46-7A4BAFB55ADF}" presName="parentShp" presStyleLbl="node1" presStyleIdx="1" presStyleCnt="3" custScaleX="98800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840D4F23-41FD-4CF5-816E-B09FD4C38733}" type="pres">
      <dgm:prSet presAssocID="{E099C35B-83F6-4C50-AB46-7A4BAFB55ADF}" presName="childShp" presStyleLbl="bgAccFollowNode1" presStyleIdx="1" presStyleCnt="3" custScaleX="146659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5C18616B-C0A2-4E84-999F-D589B39CB06B}" type="pres">
      <dgm:prSet presAssocID="{5D119D81-9513-4ABE-99E6-3824F53401EA}" presName="spacing" presStyleCnt="0"/>
      <dgm:spPr/>
    </dgm:pt>
    <dgm:pt modelId="{AEAF9AEE-F62B-43DE-800A-D4C5473B28BE}" type="pres">
      <dgm:prSet presAssocID="{93AE06AF-545C-4D83-AAB6-639A21330091}" presName="linNode" presStyleCnt="0"/>
      <dgm:spPr/>
    </dgm:pt>
    <dgm:pt modelId="{8996B770-E6EB-4AB0-8164-AFAD586BAFBD}" type="pres">
      <dgm:prSet presAssocID="{93AE06AF-545C-4D83-AAB6-639A21330091}" presName="parent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C997485D-FCC1-4219-866A-B798D13BA0ED}" type="pres">
      <dgm:prSet presAssocID="{93AE06AF-545C-4D83-AAB6-639A21330091}" presName="childShp" presStyleLbl="bgAccFollowNode1" presStyleIdx="2" presStyleCnt="3" custScaleX="14725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F63442D7-686B-4A07-AA74-408979BC8837}" srcId="{E099C35B-83F6-4C50-AB46-7A4BAFB55ADF}" destId="{337010F6-9AE4-4F8B-9636-77593C08B835}" srcOrd="1" destOrd="0" parTransId="{E90DA6F9-B7F0-4A67-BB79-07A336BB5357}" sibTransId="{C488A78B-B24C-4068-9F3E-A6D550F762CC}"/>
    <dgm:cxn modelId="{4B60FC76-51E1-4CE2-825B-62F7A0D29664}" srcId="{93AE06AF-545C-4D83-AAB6-639A21330091}" destId="{4B546077-3A97-4414-BAA0-E0871A710528}" srcOrd="0" destOrd="0" parTransId="{C8DFAC3D-944D-4CC4-B3D1-77A75610CE36}" sibTransId="{71105EA8-8C5F-4944-A053-B1D804AE4CE3}"/>
    <dgm:cxn modelId="{9AFAAFEF-7926-4216-A31C-21E73C079556}" srcId="{E14FBBEF-D893-4C04-87FC-BA9AED97A429}" destId="{93AE06AF-545C-4D83-AAB6-639A21330091}" srcOrd="2" destOrd="0" parTransId="{BB056337-08C0-4C91-A0A6-8826B10C8358}" sibTransId="{380CF6D1-65B3-4295-91DC-9DD68BB030E0}"/>
    <dgm:cxn modelId="{6B698337-C62F-4BDC-AFE4-1EE64ED76F37}" type="presOf" srcId="{5BAC368F-E2E3-47BF-9856-3A69675D65D4}" destId="{F4A0939D-9A33-442F-A4A6-685470FD1F07}" srcOrd="0" destOrd="2" presId="urn:microsoft.com/office/officeart/2005/8/layout/vList6"/>
    <dgm:cxn modelId="{65B54C43-2215-428D-BA18-71E931D6CBCB}" type="presOf" srcId="{4B546077-3A97-4414-BAA0-E0871A710528}" destId="{C997485D-FCC1-4219-866A-B798D13BA0ED}" srcOrd="0" destOrd="0" presId="urn:microsoft.com/office/officeart/2005/8/layout/vList6"/>
    <dgm:cxn modelId="{A48E94E2-63EC-4069-B2CF-6234DB02A134}" type="presOf" srcId="{A0273EFE-1B8A-4ACA-98AE-EE5CEB1A8BF3}" destId="{F4A0939D-9A33-442F-A4A6-685470FD1F07}" srcOrd="0" destOrd="1" presId="urn:microsoft.com/office/officeart/2005/8/layout/vList6"/>
    <dgm:cxn modelId="{2547C295-D536-434F-B169-F51145930F31}" type="presOf" srcId="{B0140155-4EF7-42EE-BBE6-B058F5727C79}" destId="{5EFDDC35-E431-4A83-8F2E-375C0CE20219}" srcOrd="0" destOrd="0" presId="urn:microsoft.com/office/officeart/2005/8/layout/vList6"/>
    <dgm:cxn modelId="{0743BB7E-2B13-4B95-A524-4AB8F7D7B003}" srcId="{93AE06AF-545C-4D83-AAB6-639A21330091}" destId="{186EF952-55DF-446C-A91F-93E45FC16607}" srcOrd="2" destOrd="0" parTransId="{3E311716-A4BC-4205-A06B-D6EA2BE7D095}" sibTransId="{71C8BC8D-2B5D-4BE6-9B30-4931DC51D9B5}"/>
    <dgm:cxn modelId="{8B94E3AB-F3D7-4BC6-84D2-BBFDE7F78E44}" type="presOf" srcId="{E14FBBEF-D893-4C04-87FC-BA9AED97A429}" destId="{30F8DC95-7FAB-4CE0-8B91-2FB55FBB7551}" srcOrd="0" destOrd="0" presId="urn:microsoft.com/office/officeart/2005/8/layout/vList6"/>
    <dgm:cxn modelId="{925876A4-0649-4F7F-87A8-CA0675D8CCBF}" srcId="{E099C35B-83F6-4C50-AB46-7A4BAFB55ADF}" destId="{3ECCBDB5-97E3-491D-B71B-6605A8CB4CB9}" srcOrd="0" destOrd="0" parTransId="{5CD6191F-6047-487F-848F-C1D479979274}" sibTransId="{33EE3124-B985-4046-AB48-4948A4F73912}"/>
    <dgm:cxn modelId="{9F55E3F1-C838-4042-9BA0-BF5CD07D42D2}" srcId="{E14FBBEF-D893-4C04-87FC-BA9AED97A429}" destId="{E099C35B-83F6-4C50-AB46-7A4BAFB55ADF}" srcOrd="1" destOrd="0" parTransId="{F618ABE4-2707-4524-BC4D-52E693D2643B}" sibTransId="{5D119D81-9513-4ABE-99E6-3824F53401EA}"/>
    <dgm:cxn modelId="{CC39B86F-C255-46A5-AE81-F5F933BCFD83}" type="presOf" srcId="{3ECCBDB5-97E3-491D-B71B-6605A8CB4CB9}" destId="{840D4F23-41FD-4CF5-816E-B09FD4C38733}" srcOrd="0" destOrd="0" presId="urn:microsoft.com/office/officeart/2005/8/layout/vList6"/>
    <dgm:cxn modelId="{3838352E-3D07-4CBB-BD08-6D4B832CE8AA}" type="presOf" srcId="{E099C35B-83F6-4C50-AB46-7A4BAFB55ADF}" destId="{494A905B-51B7-4944-9F3D-29C7C303FBDC}" srcOrd="0" destOrd="0" presId="urn:microsoft.com/office/officeart/2005/8/layout/vList6"/>
    <dgm:cxn modelId="{E1E6CAB9-8CE5-4590-9A8F-6B65635A2E57}" srcId="{93AE06AF-545C-4D83-AAB6-639A21330091}" destId="{DAFAF3B4-CC59-4247-BF1D-360F1A7EC438}" srcOrd="1" destOrd="0" parTransId="{18108F06-3393-4A19-9F09-33B5D330E4F3}" sibTransId="{C693D8E8-E974-4C58-B464-ECBE04602428}"/>
    <dgm:cxn modelId="{FDB1AA56-0D2C-4469-8292-98DA0E8FE3E5}" type="presOf" srcId="{337010F6-9AE4-4F8B-9636-77593C08B835}" destId="{840D4F23-41FD-4CF5-816E-B09FD4C38733}" srcOrd="0" destOrd="1" presId="urn:microsoft.com/office/officeart/2005/8/layout/vList6"/>
    <dgm:cxn modelId="{BA9C4BDF-933E-4754-BA4B-4EFE577D0303}" srcId="{B0140155-4EF7-42EE-BBE6-B058F5727C79}" destId="{A0273EFE-1B8A-4ACA-98AE-EE5CEB1A8BF3}" srcOrd="1" destOrd="0" parTransId="{680877D8-964A-433C-BEA0-28FB5D28B47D}" sibTransId="{52F0DE69-0F26-4735-8E11-D638564FA7CB}"/>
    <dgm:cxn modelId="{C3328EA9-016B-4860-89D7-FFBF94A9656F}" type="presOf" srcId="{93AE06AF-545C-4D83-AAB6-639A21330091}" destId="{8996B770-E6EB-4AB0-8164-AFAD586BAFBD}" srcOrd="0" destOrd="0" presId="urn:microsoft.com/office/officeart/2005/8/layout/vList6"/>
    <dgm:cxn modelId="{30C999DA-1C23-425A-9637-7DB1E4F929F0}" type="presOf" srcId="{DAFAF3B4-CC59-4247-BF1D-360F1A7EC438}" destId="{C997485D-FCC1-4219-866A-B798D13BA0ED}" srcOrd="0" destOrd="1" presId="urn:microsoft.com/office/officeart/2005/8/layout/vList6"/>
    <dgm:cxn modelId="{DC7D1FC0-A913-4578-B7C9-8D738C169906}" type="presOf" srcId="{8EB510EC-E894-40C0-B041-68667ADAB838}" destId="{840D4F23-41FD-4CF5-816E-B09FD4C38733}" srcOrd="0" destOrd="2" presId="urn:microsoft.com/office/officeart/2005/8/layout/vList6"/>
    <dgm:cxn modelId="{098FAD07-0472-4230-8B5E-7BEB0E181992}" srcId="{B0140155-4EF7-42EE-BBE6-B058F5727C79}" destId="{4585E753-D177-4E4F-9B06-181B48C7BA83}" srcOrd="0" destOrd="0" parTransId="{0859D9C3-D577-4526-9789-F13262209745}" sibTransId="{38CF8666-F6FE-485A-98E8-B3229386D4B1}"/>
    <dgm:cxn modelId="{1C0D87AE-EF7A-4600-8AA3-9AB16665A1B7}" type="presOf" srcId="{4585E753-D177-4E4F-9B06-181B48C7BA83}" destId="{F4A0939D-9A33-442F-A4A6-685470FD1F07}" srcOrd="0" destOrd="0" presId="urn:microsoft.com/office/officeart/2005/8/layout/vList6"/>
    <dgm:cxn modelId="{F691E520-FDEF-4190-A4D3-2DC674C575A7}" srcId="{E14FBBEF-D893-4C04-87FC-BA9AED97A429}" destId="{B0140155-4EF7-42EE-BBE6-B058F5727C79}" srcOrd="0" destOrd="0" parTransId="{CE8D7880-81D9-4EF0-BC8D-AF04D693E543}" sibTransId="{2A9A68A8-ACE5-4D8B-8AA9-26BC457776CF}"/>
    <dgm:cxn modelId="{07278BAE-C402-4BFF-AD7F-D6009C87B526}" srcId="{E099C35B-83F6-4C50-AB46-7A4BAFB55ADF}" destId="{8EB510EC-E894-40C0-B041-68667ADAB838}" srcOrd="2" destOrd="0" parTransId="{8B475781-B18F-45DB-B6C9-994F89CA7C10}" sibTransId="{98DE8321-7230-4400-8667-3D5124C882A0}"/>
    <dgm:cxn modelId="{16E666E9-6FC2-4C89-9B55-DDF8113E660F}" srcId="{B0140155-4EF7-42EE-BBE6-B058F5727C79}" destId="{5BAC368F-E2E3-47BF-9856-3A69675D65D4}" srcOrd="2" destOrd="0" parTransId="{B3E8A012-F7BE-4FEF-9501-8D8706BCD6BA}" sibTransId="{AFDC6F23-28A5-4EB6-A667-817F59818652}"/>
    <dgm:cxn modelId="{611ABB8E-EFF8-4271-8856-A6BFAF6118A2}" type="presOf" srcId="{186EF952-55DF-446C-A91F-93E45FC16607}" destId="{C997485D-FCC1-4219-866A-B798D13BA0ED}" srcOrd="0" destOrd="2" presId="urn:microsoft.com/office/officeart/2005/8/layout/vList6"/>
    <dgm:cxn modelId="{7A45226B-C2DF-45F1-A2B7-125087345ABF}" type="presParOf" srcId="{30F8DC95-7FAB-4CE0-8B91-2FB55FBB7551}" destId="{B1270D65-8388-4C04-B257-4A5054B85E9E}" srcOrd="0" destOrd="0" presId="urn:microsoft.com/office/officeart/2005/8/layout/vList6"/>
    <dgm:cxn modelId="{2C109962-37A8-4840-B429-1773AE6F2860}" type="presParOf" srcId="{B1270D65-8388-4C04-B257-4A5054B85E9E}" destId="{5EFDDC35-E431-4A83-8F2E-375C0CE20219}" srcOrd="0" destOrd="0" presId="urn:microsoft.com/office/officeart/2005/8/layout/vList6"/>
    <dgm:cxn modelId="{85EFAC4B-DEAC-4C50-9F0C-0B979CE3208F}" type="presParOf" srcId="{B1270D65-8388-4C04-B257-4A5054B85E9E}" destId="{F4A0939D-9A33-442F-A4A6-685470FD1F07}" srcOrd="1" destOrd="0" presId="urn:microsoft.com/office/officeart/2005/8/layout/vList6"/>
    <dgm:cxn modelId="{CDF98CBD-4F1B-47EA-BA61-86C1B87ACBF1}" type="presParOf" srcId="{30F8DC95-7FAB-4CE0-8B91-2FB55FBB7551}" destId="{2EA06EF0-A145-4DA9-9A65-1A8C53799CA1}" srcOrd="1" destOrd="0" presId="urn:microsoft.com/office/officeart/2005/8/layout/vList6"/>
    <dgm:cxn modelId="{5D00E0E0-03F2-4EC5-84AE-E997778DE710}" type="presParOf" srcId="{30F8DC95-7FAB-4CE0-8B91-2FB55FBB7551}" destId="{0F9AAB71-2632-4740-BE53-82857C85ECC0}" srcOrd="2" destOrd="0" presId="urn:microsoft.com/office/officeart/2005/8/layout/vList6"/>
    <dgm:cxn modelId="{D133E389-5985-48C1-B70E-3DE8EA9A09E0}" type="presParOf" srcId="{0F9AAB71-2632-4740-BE53-82857C85ECC0}" destId="{494A905B-51B7-4944-9F3D-29C7C303FBDC}" srcOrd="0" destOrd="0" presId="urn:microsoft.com/office/officeart/2005/8/layout/vList6"/>
    <dgm:cxn modelId="{BCE1187C-4BA6-492E-822D-FCDD60594B7C}" type="presParOf" srcId="{0F9AAB71-2632-4740-BE53-82857C85ECC0}" destId="{840D4F23-41FD-4CF5-816E-B09FD4C38733}" srcOrd="1" destOrd="0" presId="urn:microsoft.com/office/officeart/2005/8/layout/vList6"/>
    <dgm:cxn modelId="{FDD878E7-1DA8-416D-872D-4D55EA7A3274}" type="presParOf" srcId="{30F8DC95-7FAB-4CE0-8B91-2FB55FBB7551}" destId="{5C18616B-C0A2-4E84-999F-D589B39CB06B}" srcOrd="3" destOrd="0" presId="urn:microsoft.com/office/officeart/2005/8/layout/vList6"/>
    <dgm:cxn modelId="{1D78978A-F6B4-49AC-80D2-F6D3A72DA7D8}" type="presParOf" srcId="{30F8DC95-7FAB-4CE0-8B91-2FB55FBB7551}" destId="{AEAF9AEE-F62B-43DE-800A-D4C5473B28BE}" srcOrd="4" destOrd="0" presId="urn:microsoft.com/office/officeart/2005/8/layout/vList6"/>
    <dgm:cxn modelId="{0CBDD5E0-1798-49EE-A6AC-9AE5898731F6}" type="presParOf" srcId="{AEAF9AEE-F62B-43DE-800A-D4C5473B28BE}" destId="{8996B770-E6EB-4AB0-8164-AFAD586BAFBD}" srcOrd="0" destOrd="0" presId="urn:microsoft.com/office/officeart/2005/8/layout/vList6"/>
    <dgm:cxn modelId="{DB46255D-3308-48EB-9304-782DB12F439C}" type="presParOf" srcId="{AEAF9AEE-F62B-43DE-800A-D4C5473B28BE}" destId="{C997485D-FCC1-4219-866A-B798D13BA0ED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E14FBBEF-D893-4C04-87FC-BA9AED97A429}" type="doc">
      <dgm:prSet loTypeId="urn:microsoft.com/office/officeart/2005/8/layout/process4" loCatId="list" qsTypeId="urn:microsoft.com/office/officeart/2005/8/quickstyle/simple1#12" qsCatId="simple" csTypeId="urn:microsoft.com/office/officeart/2005/8/colors/accent2_5" csCatId="accent2" phldr="1"/>
      <dgm:spPr/>
      <dgm:t>
        <a:bodyPr/>
        <a:lstStyle/>
        <a:p>
          <a:endParaRPr lang="pt-PT"/>
        </a:p>
      </dgm:t>
    </dgm:pt>
    <dgm:pt modelId="{4585E753-D177-4E4F-9B06-181B48C7BA83}">
      <dgm:prSet custT="1"/>
      <dgm:spPr/>
      <dgm:t>
        <a:bodyPr/>
        <a:lstStyle/>
        <a:p>
          <a:pPr algn="l"/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Candidaturas abertas em continuo até 13 de novembro 2013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0859D9C3-D577-4526-9789-F13262209745}" type="parTrans" cxnId="{098FAD07-0472-4230-8B5E-7BEB0E181992}">
      <dgm:prSet/>
      <dgm:spPr/>
      <dgm:t>
        <a:bodyPr/>
        <a:lstStyle/>
        <a:p>
          <a:endParaRPr lang="pt-PT"/>
        </a:p>
      </dgm:t>
    </dgm:pt>
    <dgm:pt modelId="{38CF8666-F6FE-485A-98E8-B3229386D4B1}" type="sibTrans" cxnId="{098FAD07-0472-4230-8B5E-7BEB0E181992}">
      <dgm:prSet/>
      <dgm:spPr/>
      <dgm:t>
        <a:bodyPr/>
        <a:lstStyle/>
        <a:p>
          <a:endParaRPr lang="pt-PT"/>
        </a:p>
      </dgm:t>
    </dgm:pt>
    <dgm:pt modelId="{B0140155-4EF7-42EE-BBE6-B058F5727C79}">
      <dgm:prSet custT="1"/>
      <dgm:spPr/>
      <dgm:t>
        <a:bodyPr/>
        <a:lstStyle/>
        <a:p>
          <a:r>
            <a:rPr lang="pt-PT" sz="2000" b="1" kern="1200" dirty="0" smtClean="0">
              <a:latin typeface="Arial" pitchFamily="34" charset="0"/>
              <a:cs typeface="Arial" pitchFamily="34" charset="0"/>
            </a:rPr>
            <a:t>AAC n.º 06/SI/2012 – PROJETOS SIMPLIFICADOS “VALES”</a:t>
          </a:r>
          <a:endParaRPr lang="pt-PT" sz="2000" b="1" kern="1200" dirty="0">
            <a:solidFill>
              <a:schemeClr val="bg1"/>
            </a:solidFill>
            <a:latin typeface="Arial" pitchFamily="34" charset="0"/>
            <a:ea typeface="Geneva" charset="0"/>
            <a:cs typeface="Arial" pitchFamily="34" charset="0"/>
          </a:endParaRPr>
        </a:p>
      </dgm:t>
    </dgm:pt>
    <dgm:pt modelId="{CE8D7880-81D9-4EF0-BC8D-AF04D693E543}" type="parTrans" cxnId="{F691E520-FDEF-4190-A4D3-2DC674C575A7}">
      <dgm:prSet/>
      <dgm:spPr/>
      <dgm:t>
        <a:bodyPr/>
        <a:lstStyle/>
        <a:p>
          <a:endParaRPr lang="pt-PT"/>
        </a:p>
      </dgm:t>
    </dgm:pt>
    <dgm:pt modelId="{2A9A68A8-ACE5-4D8B-8AA9-26BC457776CF}" type="sibTrans" cxnId="{F691E520-FDEF-4190-A4D3-2DC674C575A7}">
      <dgm:prSet/>
      <dgm:spPr/>
      <dgm:t>
        <a:bodyPr/>
        <a:lstStyle/>
        <a:p>
          <a:endParaRPr lang="pt-PT"/>
        </a:p>
      </dgm:t>
    </dgm:pt>
    <dgm:pt modelId="{E099C35B-83F6-4C50-AB46-7A4BAFB55ADF}">
      <dgm:prSet custT="1"/>
      <dgm:spPr/>
      <dgm:t>
        <a:bodyPr/>
        <a:lstStyle/>
        <a:p>
          <a:r>
            <a:rPr lang="pt-PT" sz="2000" b="1" kern="1200" dirty="0" smtClean="0">
              <a:latin typeface="Arial" pitchFamily="34" charset="0"/>
              <a:cs typeface="Arial" pitchFamily="34" charset="0"/>
            </a:rPr>
            <a:t>AAC n.º 10/SI/2012 –  PROJETOS INDIVIDUAIS</a:t>
          </a:r>
          <a:endParaRPr lang="pt-PT" sz="2000" kern="1200" dirty="0">
            <a:latin typeface="Arial" pitchFamily="34" charset="0"/>
            <a:cs typeface="Arial" pitchFamily="34" charset="0"/>
          </a:endParaRPr>
        </a:p>
      </dgm:t>
    </dgm:pt>
    <dgm:pt modelId="{F618ABE4-2707-4524-BC4D-52E693D2643B}" type="parTrans" cxnId="{9F55E3F1-C838-4042-9BA0-BF5CD07D42D2}">
      <dgm:prSet/>
      <dgm:spPr/>
      <dgm:t>
        <a:bodyPr/>
        <a:lstStyle/>
        <a:p>
          <a:endParaRPr lang="pt-PT"/>
        </a:p>
      </dgm:t>
    </dgm:pt>
    <dgm:pt modelId="{5D119D81-9513-4ABE-99E6-3824F53401EA}" type="sibTrans" cxnId="{9F55E3F1-C838-4042-9BA0-BF5CD07D42D2}">
      <dgm:prSet/>
      <dgm:spPr/>
      <dgm:t>
        <a:bodyPr/>
        <a:lstStyle/>
        <a:p>
          <a:endParaRPr lang="pt-PT"/>
        </a:p>
      </dgm:t>
    </dgm:pt>
    <dgm:pt modelId="{5BAC368F-E2E3-47BF-9856-3A69675D65D4}">
      <dgm:prSet custT="1"/>
      <dgm:spPr/>
      <dgm:t>
        <a:bodyPr/>
        <a:lstStyle/>
        <a:p>
          <a:pPr algn="l"/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Dotação 10 M€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B3E8A012-F7BE-4FEF-9501-8D8706BCD6BA}" type="parTrans" cxnId="{16E666E9-6FC2-4C89-9B55-DDF8113E660F}">
      <dgm:prSet/>
      <dgm:spPr/>
      <dgm:t>
        <a:bodyPr/>
        <a:lstStyle/>
        <a:p>
          <a:endParaRPr lang="pt-PT"/>
        </a:p>
      </dgm:t>
    </dgm:pt>
    <dgm:pt modelId="{AFDC6F23-28A5-4EB6-A667-817F59818652}" type="sibTrans" cxnId="{16E666E9-6FC2-4C89-9B55-DDF8113E660F}">
      <dgm:prSet/>
      <dgm:spPr/>
      <dgm:t>
        <a:bodyPr/>
        <a:lstStyle/>
        <a:p>
          <a:endParaRPr lang="pt-PT"/>
        </a:p>
      </dgm:t>
    </dgm:pt>
    <dgm:pt modelId="{3ECCBDB5-97E3-491D-B71B-6605A8CB4CB9}">
      <dgm:prSet custT="1"/>
      <dgm:spPr/>
      <dgm:t>
        <a:bodyPr/>
        <a:lstStyle/>
        <a:p>
          <a:pPr algn="l"/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Candidaturas abertas em continuo até 16 de setembro 2013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5CD6191F-6047-487F-848F-C1D479979274}" type="parTrans" cxnId="{925876A4-0649-4F7F-87A8-CA0675D8CCBF}">
      <dgm:prSet/>
      <dgm:spPr/>
      <dgm:t>
        <a:bodyPr/>
        <a:lstStyle/>
        <a:p>
          <a:endParaRPr lang="pt-PT"/>
        </a:p>
      </dgm:t>
    </dgm:pt>
    <dgm:pt modelId="{33EE3124-B985-4046-AB48-4948A4F73912}" type="sibTrans" cxnId="{925876A4-0649-4F7F-87A8-CA0675D8CCBF}">
      <dgm:prSet/>
      <dgm:spPr/>
      <dgm:t>
        <a:bodyPr/>
        <a:lstStyle/>
        <a:p>
          <a:endParaRPr lang="pt-PT"/>
        </a:p>
      </dgm:t>
    </dgm:pt>
    <dgm:pt modelId="{054AC40D-52BE-40EB-94B9-8FE7BA4C7750}">
      <dgm:prSet custT="1"/>
      <dgm:spPr/>
      <dgm:t>
        <a:bodyPr/>
        <a:lstStyle/>
        <a:p>
          <a:pPr algn="l"/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Dotação 15 M€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17348FBA-B838-4317-B5EE-55EA84F01FD4}" type="parTrans" cxnId="{9E8EA19E-40B2-4DB2-B8D4-BB5F4B470A2E}">
      <dgm:prSet/>
      <dgm:spPr/>
      <dgm:t>
        <a:bodyPr/>
        <a:lstStyle/>
        <a:p>
          <a:endParaRPr lang="pt-PT"/>
        </a:p>
      </dgm:t>
    </dgm:pt>
    <dgm:pt modelId="{4CC450BF-601B-4E49-9144-5E78E555AA0B}" type="sibTrans" cxnId="{9E8EA19E-40B2-4DB2-B8D4-BB5F4B470A2E}">
      <dgm:prSet/>
      <dgm:spPr/>
      <dgm:t>
        <a:bodyPr/>
        <a:lstStyle/>
        <a:p>
          <a:endParaRPr lang="pt-PT"/>
        </a:p>
      </dgm:t>
    </dgm:pt>
    <dgm:pt modelId="{A9E24AA0-3A85-4443-9DD4-F3A061D84A2E}" type="pres">
      <dgm:prSet presAssocID="{E14FBBEF-D893-4C04-87FC-BA9AED97A429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E3DEDE6D-6B7B-41DD-B7E9-EDE31BF60671}" type="pres">
      <dgm:prSet presAssocID="{E099C35B-83F6-4C50-AB46-7A4BAFB55ADF}" presName="boxAndChildren" presStyleCnt="0"/>
      <dgm:spPr/>
    </dgm:pt>
    <dgm:pt modelId="{70B2A322-187D-4E8A-9013-08D5747549F5}" type="pres">
      <dgm:prSet presAssocID="{E099C35B-83F6-4C50-AB46-7A4BAFB55ADF}" presName="parentTextBox" presStyleLbl="node1" presStyleIdx="0" presStyleCnt="2"/>
      <dgm:spPr/>
      <dgm:t>
        <a:bodyPr/>
        <a:lstStyle/>
        <a:p>
          <a:endParaRPr lang="pt-PT"/>
        </a:p>
      </dgm:t>
    </dgm:pt>
    <dgm:pt modelId="{9871C366-20A4-44EE-8962-F20FA5412BF2}" type="pres">
      <dgm:prSet presAssocID="{E099C35B-83F6-4C50-AB46-7A4BAFB55ADF}" presName="entireBox" presStyleLbl="node1" presStyleIdx="0" presStyleCnt="2"/>
      <dgm:spPr/>
      <dgm:t>
        <a:bodyPr/>
        <a:lstStyle/>
        <a:p>
          <a:endParaRPr lang="pt-PT"/>
        </a:p>
      </dgm:t>
    </dgm:pt>
    <dgm:pt modelId="{109950E5-DE36-47D4-84EC-D09BFA69FBCD}" type="pres">
      <dgm:prSet presAssocID="{E099C35B-83F6-4C50-AB46-7A4BAFB55ADF}" presName="descendantBox" presStyleCnt="0"/>
      <dgm:spPr/>
    </dgm:pt>
    <dgm:pt modelId="{BB4D5A74-D993-4B31-A758-E15AAE07CE05}" type="pres">
      <dgm:prSet presAssocID="{3ECCBDB5-97E3-491D-B71B-6605A8CB4CB9}" presName="childTextBox" presStyleLbl="f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5CA96736-1350-4E6F-9975-14A711177624}" type="pres">
      <dgm:prSet presAssocID="{054AC40D-52BE-40EB-94B9-8FE7BA4C7750}" presName="childTextBox" presStyleLbl="f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4D434610-6786-4764-8A3D-20D461588090}" type="pres">
      <dgm:prSet presAssocID="{2A9A68A8-ACE5-4D8B-8AA9-26BC457776CF}" presName="sp" presStyleCnt="0"/>
      <dgm:spPr/>
    </dgm:pt>
    <dgm:pt modelId="{845B2C31-7C26-4C5B-BFFD-F9620F5819C3}" type="pres">
      <dgm:prSet presAssocID="{B0140155-4EF7-42EE-BBE6-B058F5727C79}" presName="arrowAndChildren" presStyleCnt="0"/>
      <dgm:spPr/>
    </dgm:pt>
    <dgm:pt modelId="{ED84177C-033C-46AD-AA68-CE35B72F1D14}" type="pres">
      <dgm:prSet presAssocID="{B0140155-4EF7-42EE-BBE6-B058F5727C79}" presName="parentTextArrow" presStyleLbl="node1" presStyleIdx="0" presStyleCnt="2"/>
      <dgm:spPr/>
      <dgm:t>
        <a:bodyPr/>
        <a:lstStyle/>
        <a:p>
          <a:endParaRPr lang="pt-PT"/>
        </a:p>
      </dgm:t>
    </dgm:pt>
    <dgm:pt modelId="{4AAF87A0-6923-4BDA-82DE-F8104BFF4876}" type="pres">
      <dgm:prSet presAssocID="{B0140155-4EF7-42EE-BBE6-B058F5727C79}" presName="arrow" presStyleLbl="node1" presStyleIdx="1" presStyleCnt="2"/>
      <dgm:spPr/>
      <dgm:t>
        <a:bodyPr/>
        <a:lstStyle/>
        <a:p>
          <a:endParaRPr lang="pt-PT"/>
        </a:p>
      </dgm:t>
    </dgm:pt>
    <dgm:pt modelId="{C720B33B-8F45-4EAD-B852-314BF9FC13DC}" type="pres">
      <dgm:prSet presAssocID="{B0140155-4EF7-42EE-BBE6-B058F5727C79}" presName="descendantArrow" presStyleCnt="0"/>
      <dgm:spPr/>
    </dgm:pt>
    <dgm:pt modelId="{3A4F8883-93A3-4F11-85AF-0F023E6925F0}" type="pres">
      <dgm:prSet presAssocID="{4585E753-D177-4E4F-9B06-181B48C7BA83}" presName="childTextArrow" presStyleLbl="f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5E8814F0-C10A-4CEF-B3DA-F42359A608C7}" type="pres">
      <dgm:prSet presAssocID="{5BAC368F-E2E3-47BF-9856-3A69675D65D4}" presName="childTextArrow" presStyleLbl="f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9E8EA19E-40B2-4DB2-B8D4-BB5F4B470A2E}" srcId="{E099C35B-83F6-4C50-AB46-7A4BAFB55ADF}" destId="{054AC40D-52BE-40EB-94B9-8FE7BA4C7750}" srcOrd="1" destOrd="0" parTransId="{17348FBA-B838-4317-B5EE-55EA84F01FD4}" sibTransId="{4CC450BF-601B-4E49-9144-5E78E555AA0B}"/>
    <dgm:cxn modelId="{76D72C2B-3A05-484E-984B-CE3F2A5A6D65}" type="presOf" srcId="{B0140155-4EF7-42EE-BBE6-B058F5727C79}" destId="{4AAF87A0-6923-4BDA-82DE-F8104BFF4876}" srcOrd="1" destOrd="0" presId="urn:microsoft.com/office/officeart/2005/8/layout/process4"/>
    <dgm:cxn modelId="{06C37DA7-A9E6-435C-825C-8ECB53CA7092}" type="presOf" srcId="{3ECCBDB5-97E3-491D-B71B-6605A8CB4CB9}" destId="{BB4D5A74-D993-4B31-A758-E15AAE07CE05}" srcOrd="0" destOrd="0" presId="urn:microsoft.com/office/officeart/2005/8/layout/process4"/>
    <dgm:cxn modelId="{6A30981C-16BB-4913-BA7F-B6B21A312B5D}" type="presOf" srcId="{5BAC368F-E2E3-47BF-9856-3A69675D65D4}" destId="{5E8814F0-C10A-4CEF-B3DA-F42359A608C7}" srcOrd="0" destOrd="0" presId="urn:microsoft.com/office/officeart/2005/8/layout/process4"/>
    <dgm:cxn modelId="{925876A4-0649-4F7F-87A8-CA0675D8CCBF}" srcId="{E099C35B-83F6-4C50-AB46-7A4BAFB55ADF}" destId="{3ECCBDB5-97E3-491D-B71B-6605A8CB4CB9}" srcOrd="0" destOrd="0" parTransId="{5CD6191F-6047-487F-848F-C1D479979274}" sibTransId="{33EE3124-B985-4046-AB48-4948A4F73912}"/>
    <dgm:cxn modelId="{9F55E3F1-C838-4042-9BA0-BF5CD07D42D2}" srcId="{E14FBBEF-D893-4C04-87FC-BA9AED97A429}" destId="{E099C35B-83F6-4C50-AB46-7A4BAFB55ADF}" srcOrd="1" destOrd="0" parTransId="{F618ABE4-2707-4524-BC4D-52E693D2643B}" sibTransId="{5D119D81-9513-4ABE-99E6-3824F53401EA}"/>
    <dgm:cxn modelId="{6720AF78-7950-42D0-99E7-FF2E024A3DD4}" type="presOf" srcId="{4585E753-D177-4E4F-9B06-181B48C7BA83}" destId="{3A4F8883-93A3-4F11-85AF-0F023E6925F0}" srcOrd="0" destOrd="0" presId="urn:microsoft.com/office/officeart/2005/8/layout/process4"/>
    <dgm:cxn modelId="{749B0149-05C9-40E4-AFB4-D6F0105CE6C1}" type="presOf" srcId="{E14FBBEF-D893-4C04-87FC-BA9AED97A429}" destId="{A9E24AA0-3A85-4443-9DD4-F3A061D84A2E}" srcOrd="0" destOrd="0" presId="urn:microsoft.com/office/officeart/2005/8/layout/process4"/>
    <dgm:cxn modelId="{651AD751-E0BA-444C-8669-2E266420E4A1}" type="presOf" srcId="{E099C35B-83F6-4C50-AB46-7A4BAFB55ADF}" destId="{9871C366-20A4-44EE-8962-F20FA5412BF2}" srcOrd="1" destOrd="0" presId="urn:microsoft.com/office/officeart/2005/8/layout/process4"/>
    <dgm:cxn modelId="{098FAD07-0472-4230-8B5E-7BEB0E181992}" srcId="{B0140155-4EF7-42EE-BBE6-B058F5727C79}" destId="{4585E753-D177-4E4F-9B06-181B48C7BA83}" srcOrd="0" destOrd="0" parTransId="{0859D9C3-D577-4526-9789-F13262209745}" sibTransId="{38CF8666-F6FE-485A-98E8-B3229386D4B1}"/>
    <dgm:cxn modelId="{F691E520-FDEF-4190-A4D3-2DC674C575A7}" srcId="{E14FBBEF-D893-4C04-87FC-BA9AED97A429}" destId="{B0140155-4EF7-42EE-BBE6-B058F5727C79}" srcOrd="0" destOrd="0" parTransId="{CE8D7880-81D9-4EF0-BC8D-AF04D693E543}" sibTransId="{2A9A68A8-ACE5-4D8B-8AA9-26BC457776CF}"/>
    <dgm:cxn modelId="{927A6131-68C6-4C29-A5E3-BE9FA1BF8FFB}" type="presOf" srcId="{B0140155-4EF7-42EE-BBE6-B058F5727C79}" destId="{ED84177C-033C-46AD-AA68-CE35B72F1D14}" srcOrd="0" destOrd="0" presId="urn:microsoft.com/office/officeart/2005/8/layout/process4"/>
    <dgm:cxn modelId="{5B78E664-8518-478A-A0E4-248911203430}" type="presOf" srcId="{E099C35B-83F6-4C50-AB46-7A4BAFB55ADF}" destId="{70B2A322-187D-4E8A-9013-08D5747549F5}" srcOrd="0" destOrd="0" presId="urn:microsoft.com/office/officeart/2005/8/layout/process4"/>
    <dgm:cxn modelId="{A7CF2290-62A1-4B89-B8BC-8CAE128C1929}" type="presOf" srcId="{054AC40D-52BE-40EB-94B9-8FE7BA4C7750}" destId="{5CA96736-1350-4E6F-9975-14A711177624}" srcOrd="0" destOrd="0" presId="urn:microsoft.com/office/officeart/2005/8/layout/process4"/>
    <dgm:cxn modelId="{16E666E9-6FC2-4C89-9B55-DDF8113E660F}" srcId="{B0140155-4EF7-42EE-BBE6-B058F5727C79}" destId="{5BAC368F-E2E3-47BF-9856-3A69675D65D4}" srcOrd="1" destOrd="0" parTransId="{B3E8A012-F7BE-4FEF-9501-8D8706BCD6BA}" sibTransId="{AFDC6F23-28A5-4EB6-A667-817F59818652}"/>
    <dgm:cxn modelId="{1F4EDCC3-0968-4807-A3CE-3B5348BF0BC9}" type="presParOf" srcId="{A9E24AA0-3A85-4443-9DD4-F3A061D84A2E}" destId="{E3DEDE6D-6B7B-41DD-B7E9-EDE31BF60671}" srcOrd="0" destOrd="0" presId="urn:microsoft.com/office/officeart/2005/8/layout/process4"/>
    <dgm:cxn modelId="{A0BE1D28-FBB2-413E-BE0A-3A17F6E539D4}" type="presParOf" srcId="{E3DEDE6D-6B7B-41DD-B7E9-EDE31BF60671}" destId="{70B2A322-187D-4E8A-9013-08D5747549F5}" srcOrd="0" destOrd="0" presId="urn:microsoft.com/office/officeart/2005/8/layout/process4"/>
    <dgm:cxn modelId="{6B915D78-4C96-4E55-9FAD-1C25A6543A42}" type="presParOf" srcId="{E3DEDE6D-6B7B-41DD-B7E9-EDE31BF60671}" destId="{9871C366-20A4-44EE-8962-F20FA5412BF2}" srcOrd="1" destOrd="0" presId="urn:microsoft.com/office/officeart/2005/8/layout/process4"/>
    <dgm:cxn modelId="{0C0A73CB-624D-4B0A-8B8F-14220C0910C9}" type="presParOf" srcId="{E3DEDE6D-6B7B-41DD-B7E9-EDE31BF60671}" destId="{109950E5-DE36-47D4-84EC-D09BFA69FBCD}" srcOrd="2" destOrd="0" presId="urn:microsoft.com/office/officeart/2005/8/layout/process4"/>
    <dgm:cxn modelId="{AE42E4AD-45E0-4029-961B-A8FBF4373F59}" type="presParOf" srcId="{109950E5-DE36-47D4-84EC-D09BFA69FBCD}" destId="{BB4D5A74-D993-4B31-A758-E15AAE07CE05}" srcOrd="0" destOrd="0" presId="urn:microsoft.com/office/officeart/2005/8/layout/process4"/>
    <dgm:cxn modelId="{286B2429-3E3B-443F-BF61-C69C3442A6E5}" type="presParOf" srcId="{109950E5-DE36-47D4-84EC-D09BFA69FBCD}" destId="{5CA96736-1350-4E6F-9975-14A711177624}" srcOrd="1" destOrd="0" presId="urn:microsoft.com/office/officeart/2005/8/layout/process4"/>
    <dgm:cxn modelId="{94992E96-4681-48B8-9B6E-49C898144961}" type="presParOf" srcId="{A9E24AA0-3A85-4443-9DD4-F3A061D84A2E}" destId="{4D434610-6786-4764-8A3D-20D461588090}" srcOrd="1" destOrd="0" presId="urn:microsoft.com/office/officeart/2005/8/layout/process4"/>
    <dgm:cxn modelId="{E5F7609E-4893-437E-AD85-42DAC82585D9}" type="presParOf" srcId="{A9E24AA0-3A85-4443-9DD4-F3A061D84A2E}" destId="{845B2C31-7C26-4C5B-BFFD-F9620F5819C3}" srcOrd="2" destOrd="0" presId="urn:microsoft.com/office/officeart/2005/8/layout/process4"/>
    <dgm:cxn modelId="{4768FF84-6E6E-4D7F-913D-E0667C7C2F4A}" type="presParOf" srcId="{845B2C31-7C26-4C5B-BFFD-F9620F5819C3}" destId="{ED84177C-033C-46AD-AA68-CE35B72F1D14}" srcOrd="0" destOrd="0" presId="urn:microsoft.com/office/officeart/2005/8/layout/process4"/>
    <dgm:cxn modelId="{DFB8846D-D52E-4ADD-AE99-8CEBD9A87648}" type="presParOf" srcId="{845B2C31-7C26-4C5B-BFFD-F9620F5819C3}" destId="{4AAF87A0-6923-4BDA-82DE-F8104BFF4876}" srcOrd="1" destOrd="0" presId="urn:microsoft.com/office/officeart/2005/8/layout/process4"/>
    <dgm:cxn modelId="{76250F11-FDBD-4DF4-86EF-D402E7BFC431}" type="presParOf" srcId="{845B2C31-7C26-4C5B-BFFD-F9620F5819C3}" destId="{C720B33B-8F45-4EAD-B852-314BF9FC13DC}" srcOrd="2" destOrd="0" presId="urn:microsoft.com/office/officeart/2005/8/layout/process4"/>
    <dgm:cxn modelId="{96E11FA4-89E6-43F9-876C-C604F397CBDE}" type="presParOf" srcId="{C720B33B-8F45-4EAD-B852-314BF9FC13DC}" destId="{3A4F8883-93A3-4F11-85AF-0F023E6925F0}" srcOrd="0" destOrd="0" presId="urn:microsoft.com/office/officeart/2005/8/layout/process4"/>
    <dgm:cxn modelId="{DBD4ADCD-802F-4898-8646-F00C872BF274}" type="presParOf" srcId="{C720B33B-8F45-4EAD-B852-314BF9FC13DC}" destId="{5E8814F0-C10A-4CEF-B3DA-F42359A608C7}" srcOrd="1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E14FBBEF-D893-4C04-87FC-BA9AED97A429}" type="doc">
      <dgm:prSet loTypeId="urn:microsoft.com/office/officeart/2005/8/layout/process4" loCatId="list" qsTypeId="urn:microsoft.com/office/officeart/2005/8/quickstyle/simple1#13" qsCatId="simple" csTypeId="urn:microsoft.com/office/officeart/2005/8/colors/accent2_5" csCatId="accent2" phldr="1"/>
      <dgm:spPr/>
      <dgm:t>
        <a:bodyPr/>
        <a:lstStyle/>
        <a:p>
          <a:endParaRPr lang="pt-PT"/>
        </a:p>
      </dgm:t>
    </dgm:pt>
    <dgm:pt modelId="{4585E753-D177-4E4F-9B06-181B48C7BA83}">
      <dgm:prSet custT="1"/>
      <dgm:spPr/>
      <dgm:t>
        <a:bodyPr/>
        <a:lstStyle/>
        <a:p>
          <a:pPr algn="l"/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Fase 1 terminada e Fase 2 de 22 de abril a 15 de julho de 2013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0859D9C3-D577-4526-9789-F13262209745}" type="parTrans" cxnId="{098FAD07-0472-4230-8B5E-7BEB0E181992}">
      <dgm:prSet/>
      <dgm:spPr/>
      <dgm:t>
        <a:bodyPr/>
        <a:lstStyle/>
        <a:p>
          <a:endParaRPr lang="pt-PT"/>
        </a:p>
      </dgm:t>
    </dgm:pt>
    <dgm:pt modelId="{38CF8666-F6FE-485A-98E8-B3229386D4B1}" type="sibTrans" cxnId="{098FAD07-0472-4230-8B5E-7BEB0E181992}">
      <dgm:prSet/>
      <dgm:spPr/>
      <dgm:t>
        <a:bodyPr/>
        <a:lstStyle/>
        <a:p>
          <a:endParaRPr lang="pt-PT"/>
        </a:p>
      </dgm:t>
    </dgm:pt>
    <dgm:pt modelId="{B0140155-4EF7-42EE-BBE6-B058F5727C79}">
      <dgm:prSet custT="1"/>
      <dgm:spPr/>
      <dgm:t>
        <a:bodyPr/>
        <a:lstStyle/>
        <a:p>
          <a:r>
            <a:rPr lang="pt-PT" sz="2000" b="1" kern="1200" dirty="0" smtClean="0">
              <a:latin typeface="Arial" pitchFamily="34" charset="0"/>
              <a:cs typeface="Arial" pitchFamily="34" charset="0"/>
            </a:rPr>
            <a:t>AAC n.º 05/SI/2012 – PROJETOS CONJUNTOS INTERNACIONALIZAÇÃO</a:t>
          </a:r>
          <a:endParaRPr lang="pt-PT" sz="2000" b="1" kern="1200" dirty="0">
            <a:solidFill>
              <a:schemeClr val="bg1"/>
            </a:solidFill>
            <a:latin typeface="Arial" pitchFamily="34" charset="0"/>
            <a:ea typeface="Geneva" charset="0"/>
            <a:cs typeface="Arial" pitchFamily="34" charset="0"/>
          </a:endParaRPr>
        </a:p>
      </dgm:t>
    </dgm:pt>
    <dgm:pt modelId="{CE8D7880-81D9-4EF0-BC8D-AF04D693E543}" type="parTrans" cxnId="{F691E520-FDEF-4190-A4D3-2DC674C575A7}">
      <dgm:prSet/>
      <dgm:spPr/>
      <dgm:t>
        <a:bodyPr/>
        <a:lstStyle/>
        <a:p>
          <a:endParaRPr lang="pt-PT"/>
        </a:p>
      </dgm:t>
    </dgm:pt>
    <dgm:pt modelId="{2A9A68A8-ACE5-4D8B-8AA9-26BC457776CF}" type="sibTrans" cxnId="{F691E520-FDEF-4190-A4D3-2DC674C575A7}">
      <dgm:prSet/>
      <dgm:spPr/>
      <dgm:t>
        <a:bodyPr/>
        <a:lstStyle/>
        <a:p>
          <a:endParaRPr lang="pt-PT"/>
        </a:p>
      </dgm:t>
    </dgm:pt>
    <dgm:pt modelId="{E099C35B-83F6-4C50-AB46-7A4BAFB55ADF}">
      <dgm:prSet custT="1"/>
      <dgm:spPr/>
      <dgm:t>
        <a:bodyPr/>
        <a:lstStyle/>
        <a:p>
          <a:r>
            <a:rPr lang="pt-PT" sz="2000" b="1" kern="1200" dirty="0" smtClean="0">
              <a:latin typeface="Arial" pitchFamily="34" charset="0"/>
              <a:cs typeface="Arial" pitchFamily="34" charset="0"/>
            </a:rPr>
            <a:t>AAC n.º 11/SI/2012 –  PROJETOS CONJUNTOS</a:t>
          </a:r>
        </a:p>
        <a:p>
          <a:r>
            <a:rPr lang="pt-PT" sz="2000" b="1" kern="1200" dirty="0" smtClean="0">
              <a:latin typeface="Arial" pitchFamily="34" charset="0"/>
              <a:cs typeface="Arial" pitchFamily="34" charset="0"/>
            </a:rPr>
            <a:t>OUTRAS TIPOLOGIAS</a:t>
          </a:r>
          <a:endParaRPr lang="pt-PT" sz="2000" kern="1200" dirty="0">
            <a:latin typeface="Arial" pitchFamily="34" charset="0"/>
            <a:cs typeface="Arial" pitchFamily="34" charset="0"/>
          </a:endParaRPr>
        </a:p>
      </dgm:t>
    </dgm:pt>
    <dgm:pt modelId="{F618ABE4-2707-4524-BC4D-52E693D2643B}" type="parTrans" cxnId="{9F55E3F1-C838-4042-9BA0-BF5CD07D42D2}">
      <dgm:prSet/>
      <dgm:spPr/>
      <dgm:t>
        <a:bodyPr/>
        <a:lstStyle/>
        <a:p>
          <a:endParaRPr lang="pt-PT"/>
        </a:p>
      </dgm:t>
    </dgm:pt>
    <dgm:pt modelId="{5D119D81-9513-4ABE-99E6-3824F53401EA}" type="sibTrans" cxnId="{9F55E3F1-C838-4042-9BA0-BF5CD07D42D2}">
      <dgm:prSet/>
      <dgm:spPr/>
      <dgm:t>
        <a:bodyPr/>
        <a:lstStyle/>
        <a:p>
          <a:endParaRPr lang="pt-PT"/>
        </a:p>
      </dgm:t>
    </dgm:pt>
    <dgm:pt modelId="{5BAC368F-E2E3-47BF-9856-3A69675D65D4}">
      <dgm:prSet custT="1"/>
      <dgm:spPr/>
      <dgm:t>
        <a:bodyPr/>
        <a:lstStyle/>
        <a:p>
          <a:pPr algn="l"/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Dotação 55 M€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B3E8A012-F7BE-4FEF-9501-8D8706BCD6BA}" type="parTrans" cxnId="{16E666E9-6FC2-4C89-9B55-DDF8113E660F}">
      <dgm:prSet/>
      <dgm:spPr/>
      <dgm:t>
        <a:bodyPr/>
        <a:lstStyle/>
        <a:p>
          <a:endParaRPr lang="pt-PT"/>
        </a:p>
      </dgm:t>
    </dgm:pt>
    <dgm:pt modelId="{AFDC6F23-28A5-4EB6-A667-817F59818652}" type="sibTrans" cxnId="{16E666E9-6FC2-4C89-9B55-DDF8113E660F}">
      <dgm:prSet/>
      <dgm:spPr/>
      <dgm:t>
        <a:bodyPr/>
        <a:lstStyle/>
        <a:p>
          <a:endParaRPr lang="pt-PT"/>
        </a:p>
      </dgm:t>
    </dgm:pt>
    <dgm:pt modelId="{3ECCBDB5-97E3-491D-B71B-6605A8CB4CB9}">
      <dgm:prSet custT="1"/>
      <dgm:spPr/>
      <dgm:t>
        <a:bodyPr/>
        <a:lstStyle/>
        <a:p>
          <a:pPr algn="l"/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Fase 1 termina a 31 de dezembro 2012 e Fase 2 de 22 de abril a 15 de julho de 2013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5CD6191F-6047-487F-848F-C1D479979274}" type="parTrans" cxnId="{925876A4-0649-4F7F-87A8-CA0675D8CCBF}">
      <dgm:prSet/>
      <dgm:spPr/>
      <dgm:t>
        <a:bodyPr/>
        <a:lstStyle/>
        <a:p>
          <a:endParaRPr lang="pt-PT"/>
        </a:p>
      </dgm:t>
    </dgm:pt>
    <dgm:pt modelId="{33EE3124-B985-4046-AB48-4948A4F73912}" type="sibTrans" cxnId="{925876A4-0649-4F7F-87A8-CA0675D8CCBF}">
      <dgm:prSet/>
      <dgm:spPr/>
      <dgm:t>
        <a:bodyPr/>
        <a:lstStyle/>
        <a:p>
          <a:endParaRPr lang="pt-PT"/>
        </a:p>
      </dgm:t>
    </dgm:pt>
    <dgm:pt modelId="{054AC40D-52BE-40EB-94B9-8FE7BA4C7750}">
      <dgm:prSet custT="1"/>
      <dgm:spPr/>
      <dgm:t>
        <a:bodyPr/>
        <a:lstStyle/>
        <a:p>
          <a:pPr algn="l"/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Dotação 5 M€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17348FBA-B838-4317-B5EE-55EA84F01FD4}" type="parTrans" cxnId="{9E8EA19E-40B2-4DB2-B8D4-BB5F4B470A2E}">
      <dgm:prSet/>
      <dgm:spPr/>
      <dgm:t>
        <a:bodyPr/>
        <a:lstStyle/>
        <a:p>
          <a:endParaRPr lang="pt-PT"/>
        </a:p>
      </dgm:t>
    </dgm:pt>
    <dgm:pt modelId="{4CC450BF-601B-4E49-9144-5E78E555AA0B}" type="sibTrans" cxnId="{9E8EA19E-40B2-4DB2-B8D4-BB5F4B470A2E}">
      <dgm:prSet/>
      <dgm:spPr/>
      <dgm:t>
        <a:bodyPr/>
        <a:lstStyle/>
        <a:p>
          <a:endParaRPr lang="pt-PT"/>
        </a:p>
      </dgm:t>
    </dgm:pt>
    <dgm:pt modelId="{A9E24AA0-3A85-4443-9DD4-F3A061D84A2E}" type="pres">
      <dgm:prSet presAssocID="{E14FBBEF-D893-4C04-87FC-BA9AED97A429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E3DEDE6D-6B7B-41DD-B7E9-EDE31BF60671}" type="pres">
      <dgm:prSet presAssocID="{E099C35B-83F6-4C50-AB46-7A4BAFB55ADF}" presName="boxAndChildren" presStyleCnt="0"/>
      <dgm:spPr/>
    </dgm:pt>
    <dgm:pt modelId="{70B2A322-187D-4E8A-9013-08D5747549F5}" type="pres">
      <dgm:prSet presAssocID="{E099C35B-83F6-4C50-AB46-7A4BAFB55ADF}" presName="parentTextBox" presStyleLbl="node1" presStyleIdx="0" presStyleCnt="2"/>
      <dgm:spPr/>
      <dgm:t>
        <a:bodyPr/>
        <a:lstStyle/>
        <a:p>
          <a:endParaRPr lang="pt-PT"/>
        </a:p>
      </dgm:t>
    </dgm:pt>
    <dgm:pt modelId="{9871C366-20A4-44EE-8962-F20FA5412BF2}" type="pres">
      <dgm:prSet presAssocID="{E099C35B-83F6-4C50-AB46-7A4BAFB55ADF}" presName="entireBox" presStyleLbl="node1" presStyleIdx="0" presStyleCnt="2"/>
      <dgm:spPr/>
      <dgm:t>
        <a:bodyPr/>
        <a:lstStyle/>
        <a:p>
          <a:endParaRPr lang="pt-PT"/>
        </a:p>
      </dgm:t>
    </dgm:pt>
    <dgm:pt modelId="{109950E5-DE36-47D4-84EC-D09BFA69FBCD}" type="pres">
      <dgm:prSet presAssocID="{E099C35B-83F6-4C50-AB46-7A4BAFB55ADF}" presName="descendantBox" presStyleCnt="0"/>
      <dgm:spPr/>
    </dgm:pt>
    <dgm:pt modelId="{BB4D5A74-D993-4B31-A758-E15AAE07CE05}" type="pres">
      <dgm:prSet presAssocID="{3ECCBDB5-97E3-491D-B71B-6605A8CB4CB9}" presName="childTextBox" presStyleLbl="f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5CA96736-1350-4E6F-9975-14A711177624}" type="pres">
      <dgm:prSet presAssocID="{054AC40D-52BE-40EB-94B9-8FE7BA4C7750}" presName="childTextBox" presStyleLbl="f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4D434610-6786-4764-8A3D-20D461588090}" type="pres">
      <dgm:prSet presAssocID="{2A9A68A8-ACE5-4D8B-8AA9-26BC457776CF}" presName="sp" presStyleCnt="0"/>
      <dgm:spPr/>
    </dgm:pt>
    <dgm:pt modelId="{845B2C31-7C26-4C5B-BFFD-F9620F5819C3}" type="pres">
      <dgm:prSet presAssocID="{B0140155-4EF7-42EE-BBE6-B058F5727C79}" presName="arrowAndChildren" presStyleCnt="0"/>
      <dgm:spPr/>
    </dgm:pt>
    <dgm:pt modelId="{ED84177C-033C-46AD-AA68-CE35B72F1D14}" type="pres">
      <dgm:prSet presAssocID="{B0140155-4EF7-42EE-BBE6-B058F5727C79}" presName="parentTextArrow" presStyleLbl="node1" presStyleIdx="0" presStyleCnt="2"/>
      <dgm:spPr/>
      <dgm:t>
        <a:bodyPr/>
        <a:lstStyle/>
        <a:p>
          <a:endParaRPr lang="pt-PT"/>
        </a:p>
      </dgm:t>
    </dgm:pt>
    <dgm:pt modelId="{4AAF87A0-6923-4BDA-82DE-F8104BFF4876}" type="pres">
      <dgm:prSet presAssocID="{B0140155-4EF7-42EE-BBE6-B058F5727C79}" presName="arrow" presStyleLbl="node1" presStyleIdx="1" presStyleCnt="2"/>
      <dgm:spPr/>
      <dgm:t>
        <a:bodyPr/>
        <a:lstStyle/>
        <a:p>
          <a:endParaRPr lang="pt-PT"/>
        </a:p>
      </dgm:t>
    </dgm:pt>
    <dgm:pt modelId="{C720B33B-8F45-4EAD-B852-314BF9FC13DC}" type="pres">
      <dgm:prSet presAssocID="{B0140155-4EF7-42EE-BBE6-B058F5727C79}" presName="descendantArrow" presStyleCnt="0"/>
      <dgm:spPr/>
    </dgm:pt>
    <dgm:pt modelId="{3A4F8883-93A3-4F11-85AF-0F023E6925F0}" type="pres">
      <dgm:prSet presAssocID="{4585E753-D177-4E4F-9B06-181B48C7BA83}" presName="childTextArrow" presStyleLbl="f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5E8814F0-C10A-4CEF-B3DA-F42359A608C7}" type="pres">
      <dgm:prSet presAssocID="{5BAC368F-E2E3-47BF-9856-3A69675D65D4}" presName="childTextArrow" presStyleLbl="f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276F0E46-536F-4B26-96CC-636442883E9B}" type="presOf" srcId="{3ECCBDB5-97E3-491D-B71B-6605A8CB4CB9}" destId="{BB4D5A74-D993-4B31-A758-E15AAE07CE05}" srcOrd="0" destOrd="0" presId="urn:microsoft.com/office/officeart/2005/8/layout/process4"/>
    <dgm:cxn modelId="{C2A7467E-70D6-4315-8F97-0AA13DA96DD0}" type="presOf" srcId="{5BAC368F-E2E3-47BF-9856-3A69675D65D4}" destId="{5E8814F0-C10A-4CEF-B3DA-F42359A608C7}" srcOrd="0" destOrd="0" presId="urn:microsoft.com/office/officeart/2005/8/layout/process4"/>
    <dgm:cxn modelId="{80F36F16-E042-4A8D-9D2A-035A784FAF6F}" type="presOf" srcId="{E14FBBEF-D893-4C04-87FC-BA9AED97A429}" destId="{A9E24AA0-3A85-4443-9DD4-F3A061D84A2E}" srcOrd="0" destOrd="0" presId="urn:microsoft.com/office/officeart/2005/8/layout/process4"/>
    <dgm:cxn modelId="{925876A4-0649-4F7F-87A8-CA0675D8CCBF}" srcId="{E099C35B-83F6-4C50-AB46-7A4BAFB55ADF}" destId="{3ECCBDB5-97E3-491D-B71B-6605A8CB4CB9}" srcOrd="0" destOrd="0" parTransId="{5CD6191F-6047-487F-848F-C1D479979274}" sibTransId="{33EE3124-B985-4046-AB48-4948A4F73912}"/>
    <dgm:cxn modelId="{9A2C396C-C59D-4775-A762-81D1FEADC0C8}" type="presOf" srcId="{B0140155-4EF7-42EE-BBE6-B058F5727C79}" destId="{ED84177C-033C-46AD-AA68-CE35B72F1D14}" srcOrd="0" destOrd="0" presId="urn:microsoft.com/office/officeart/2005/8/layout/process4"/>
    <dgm:cxn modelId="{64F1D3E8-9ABE-4562-B404-063444A55B68}" type="presOf" srcId="{4585E753-D177-4E4F-9B06-181B48C7BA83}" destId="{3A4F8883-93A3-4F11-85AF-0F023E6925F0}" srcOrd="0" destOrd="0" presId="urn:microsoft.com/office/officeart/2005/8/layout/process4"/>
    <dgm:cxn modelId="{9E8EA19E-40B2-4DB2-B8D4-BB5F4B470A2E}" srcId="{E099C35B-83F6-4C50-AB46-7A4BAFB55ADF}" destId="{054AC40D-52BE-40EB-94B9-8FE7BA4C7750}" srcOrd="1" destOrd="0" parTransId="{17348FBA-B838-4317-B5EE-55EA84F01FD4}" sibTransId="{4CC450BF-601B-4E49-9144-5E78E555AA0B}"/>
    <dgm:cxn modelId="{098FAD07-0472-4230-8B5E-7BEB0E181992}" srcId="{B0140155-4EF7-42EE-BBE6-B058F5727C79}" destId="{4585E753-D177-4E4F-9B06-181B48C7BA83}" srcOrd="0" destOrd="0" parTransId="{0859D9C3-D577-4526-9789-F13262209745}" sibTransId="{38CF8666-F6FE-485A-98E8-B3229386D4B1}"/>
    <dgm:cxn modelId="{E9FB3F1C-94FD-4080-BD79-D26A3A5A5861}" type="presOf" srcId="{E099C35B-83F6-4C50-AB46-7A4BAFB55ADF}" destId="{70B2A322-187D-4E8A-9013-08D5747549F5}" srcOrd="0" destOrd="0" presId="urn:microsoft.com/office/officeart/2005/8/layout/process4"/>
    <dgm:cxn modelId="{F691E520-FDEF-4190-A4D3-2DC674C575A7}" srcId="{E14FBBEF-D893-4C04-87FC-BA9AED97A429}" destId="{B0140155-4EF7-42EE-BBE6-B058F5727C79}" srcOrd="0" destOrd="0" parTransId="{CE8D7880-81D9-4EF0-BC8D-AF04D693E543}" sibTransId="{2A9A68A8-ACE5-4D8B-8AA9-26BC457776CF}"/>
    <dgm:cxn modelId="{1D35BA09-1A00-419F-B2BB-795AC23E71AE}" type="presOf" srcId="{B0140155-4EF7-42EE-BBE6-B058F5727C79}" destId="{4AAF87A0-6923-4BDA-82DE-F8104BFF4876}" srcOrd="1" destOrd="0" presId="urn:microsoft.com/office/officeart/2005/8/layout/process4"/>
    <dgm:cxn modelId="{749676AB-F988-4376-9BE1-0292F41D5639}" type="presOf" srcId="{E099C35B-83F6-4C50-AB46-7A4BAFB55ADF}" destId="{9871C366-20A4-44EE-8962-F20FA5412BF2}" srcOrd="1" destOrd="0" presId="urn:microsoft.com/office/officeart/2005/8/layout/process4"/>
    <dgm:cxn modelId="{9F55E3F1-C838-4042-9BA0-BF5CD07D42D2}" srcId="{E14FBBEF-D893-4C04-87FC-BA9AED97A429}" destId="{E099C35B-83F6-4C50-AB46-7A4BAFB55ADF}" srcOrd="1" destOrd="0" parTransId="{F618ABE4-2707-4524-BC4D-52E693D2643B}" sibTransId="{5D119D81-9513-4ABE-99E6-3824F53401EA}"/>
    <dgm:cxn modelId="{4E69863C-49F3-4487-B6BA-02E026C2DABE}" type="presOf" srcId="{054AC40D-52BE-40EB-94B9-8FE7BA4C7750}" destId="{5CA96736-1350-4E6F-9975-14A711177624}" srcOrd="0" destOrd="0" presId="urn:microsoft.com/office/officeart/2005/8/layout/process4"/>
    <dgm:cxn modelId="{16E666E9-6FC2-4C89-9B55-DDF8113E660F}" srcId="{B0140155-4EF7-42EE-BBE6-B058F5727C79}" destId="{5BAC368F-E2E3-47BF-9856-3A69675D65D4}" srcOrd="1" destOrd="0" parTransId="{B3E8A012-F7BE-4FEF-9501-8D8706BCD6BA}" sibTransId="{AFDC6F23-28A5-4EB6-A667-817F59818652}"/>
    <dgm:cxn modelId="{28C4CD9B-4592-4AAB-9891-BED6390866AA}" type="presParOf" srcId="{A9E24AA0-3A85-4443-9DD4-F3A061D84A2E}" destId="{E3DEDE6D-6B7B-41DD-B7E9-EDE31BF60671}" srcOrd="0" destOrd="0" presId="urn:microsoft.com/office/officeart/2005/8/layout/process4"/>
    <dgm:cxn modelId="{A726546F-317E-4DDF-92E0-107B5CD24B9B}" type="presParOf" srcId="{E3DEDE6D-6B7B-41DD-B7E9-EDE31BF60671}" destId="{70B2A322-187D-4E8A-9013-08D5747549F5}" srcOrd="0" destOrd="0" presId="urn:microsoft.com/office/officeart/2005/8/layout/process4"/>
    <dgm:cxn modelId="{C64C2EED-BD6A-4F91-A60E-3AACD77109CB}" type="presParOf" srcId="{E3DEDE6D-6B7B-41DD-B7E9-EDE31BF60671}" destId="{9871C366-20A4-44EE-8962-F20FA5412BF2}" srcOrd="1" destOrd="0" presId="urn:microsoft.com/office/officeart/2005/8/layout/process4"/>
    <dgm:cxn modelId="{0BDCD37C-FD69-4005-BB37-7E5BF3EACB73}" type="presParOf" srcId="{E3DEDE6D-6B7B-41DD-B7E9-EDE31BF60671}" destId="{109950E5-DE36-47D4-84EC-D09BFA69FBCD}" srcOrd="2" destOrd="0" presId="urn:microsoft.com/office/officeart/2005/8/layout/process4"/>
    <dgm:cxn modelId="{56D39FAF-C109-4F64-9445-4CA81211BD2F}" type="presParOf" srcId="{109950E5-DE36-47D4-84EC-D09BFA69FBCD}" destId="{BB4D5A74-D993-4B31-A758-E15AAE07CE05}" srcOrd="0" destOrd="0" presId="urn:microsoft.com/office/officeart/2005/8/layout/process4"/>
    <dgm:cxn modelId="{AC1BB4DF-F164-48FC-B239-862992A53AFD}" type="presParOf" srcId="{109950E5-DE36-47D4-84EC-D09BFA69FBCD}" destId="{5CA96736-1350-4E6F-9975-14A711177624}" srcOrd="1" destOrd="0" presId="urn:microsoft.com/office/officeart/2005/8/layout/process4"/>
    <dgm:cxn modelId="{9EA3550F-B77D-4068-BF23-4DEB4EC6FA57}" type="presParOf" srcId="{A9E24AA0-3A85-4443-9DD4-F3A061D84A2E}" destId="{4D434610-6786-4764-8A3D-20D461588090}" srcOrd="1" destOrd="0" presId="urn:microsoft.com/office/officeart/2005/8/layout/process4"/>
    <dgm:cxn modelId="{2E1BA751-3567-4435-AD78-8A4436C0B242}" type="presParOf" srcId="{A9E24AA0-3A85-4443-9DD4-F3A061D84A2E}" destId="{845B2C31-7C26-4C5B-BFFD-F9620F5819C3}" srcOrd="2" destOrd="0" presId="urn:microsoft.com/office/officeart/2005/8/layout/process4"/>
    <dgm:cxn modelId="{3D89C3FF-C92C-44A1-95F5-285FAEBF8ED2}" type="presParOf" srcId="{845B2C31-7C26-4C5B-BFFD-F9620F5819C3}" destId="{ED84177C-033C-46AD-AA68-CE35B72F1D14}" srcOrd="0" destOrd="0" presId="urn:microsoft.com/office/officeart/2005/8/layout/process4"/>
    <dgm:cxn modelId="{E527243C-78A5-48D9-AD38-615E9896D294}" type="presParOf" srcId="{845B2C31-7C26-4C5B-BFFD-F9620F5819C3}" destId="{4AAF87A0-6923-4BDA-82DE-F8104BFF4876}" srcOrd="1" destOrd="0" presId="urn:microsoft.com/office/officeart/2005/8/layout/process4"/>
    <dgm:cxn modelId="{7881F1BC-244A-4753-AE54-A1232505D378}" type="presParOf" srcId="{845B2C31-7C26-4C5B-BFFD-F9620F5819C3}" destId="{C720B33B-8F45-4EAD-B852-314BF9FC13DC}" srcOrd="2" destOrd="0" presId="urn:microsoft.com/office/officeart/2005/8/layout/process4"/>
    <dgm:cxn modelId="{8B4A88C8-1F48-4748-B4CD-D11A0BCF2082}" type="presParOf" srcId="{C720B33B-8F45-4EAD-B852-314BF9FC13DC}" destId="{3A4F8883-93A3-4F11-85AF-0F023E6925F0}" srcOrd="0" destOrd="0" presId="urn:microsoft.com/office/officeart/2005/8/layout/process4"/>
    <dgm:cxn modelId="{687698AB-3E0E-4B60-B237-E4B35402442C}" type="presParOf" srcId="{C720B33B-8F45-4EAD-B852-314BF9FC13DC}" destId="{5E8814F0-C10A-4CEF-B3DA-F42359A608C7}" srcOrd="1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6C1DEF8F-E337-49F7-93BA-C392560D0641}" type="doc">
      <dgm:prSet loTypeId="urn:microsoft.com/office/officeart/2005/8/layout/vList6" loCatId="process" qsTypeId="urn:microsoft.com/office/officeart/2005/8/quickstyle/simple1#14" qsCatId="simple" csTypeId="urn:microsoft.com/office/officeart/2005/8/colors/accent1_2#2" csCatId="accent1" phldr="1"/>
      <dgm:spPr/>
      <dgm:t>
        <a:bodyPr/>
        <a:lstStyle/>
        <a:p>
          <a:endParaRPr lang="pt-PT"/>
        </a:p>
      </dgm:t>
    </dgm:pt>
    <dgm:pt modelId="{9CE7EBC9-E93C-40CC-92FA-BDD36E93079C}">
      <dgm:prSet phldrT="[Texto]"/>
      <dgm:spPr>
        <a:solidFill>
          <a:schemeClr val="accent6">
            <a:lumMod val="75000"/>
          </a:schemeClr>
        </a:solidFill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r>
            <a:rPr lang="pt-PT" dirty="0" smtClean="0">
              <a:solidFill>
                <a:schemeClr val="tx1"/>
              </a:solidFill>
            </a:rPr>
            <a:t>SIAC</a:t>
          </a:r>
          <a:endParaRPr lang="pt-PT" dirty="0">
            <a:solidFill>
              <a:schemeClr val="tx1"/>
            </a:solidFill>
          </a:endParaRPr>
        </a:p>
      </dgm:t>
    </dgm:pt>
    <dgm:pt modelId="{2DA6795D-2DF1-41DA-BFC7-B4F5B79E5ED2}" type="parTrans" cxnId="{8F59DB38-3742-4E54-9CB2-D5187539F3AB}">
      <dgm:prSet/>
      <dgm:spPr/>
      <dgm:t>
        <a:bodyPr/>
        <a:lstStyle/>
        <a:p>
          <a:endParaRPr lang="pt-PT"/>
        </a:p>
      </dgm:t>
    </dgm:pt>
    <dgm:pt modelId="{F8B661B8-62CC-4FBC-9045-AE8BFF9BAE16}" type="sibTrans" cxnId="{8F59DB38-3742-4E54-9CB2-D5187539F3AB}">
      <dgm:prSet/>
      <dgm:spPr/>
      <dgm:t>
        <a:bodyPr/>
        <a:lstStyle/>
        <a:p>
          <a:endParaRPr lang="pt-PT"/>
        </a:p>
      </dgm:t>
    </dgm:pt>
    <dgm:pt modelId="{30DEF398-1F54-4501-B6DB-85D451F4E34F}">
      <dgm:prSet phldrT="[Texto]" phldr="1" custT="1"/>
      <dgm:spPr>
        <a:gradFill rotWithShape="0">
          <a:gsLst>
            <a:gs pos="0">
              <a:schemeClr val="accent6">
                <a:tint val="50000"/>
                <a:satMod val="300000"/>
              </a:schemeClr>
            </a:gs>
            <a:gs pos="35000">
              <a:schemeClr val="accent6">
                <a:tint val="37000"/>
                <a:satMod val="300000"/>
              </a:schemeClr>
            </a:gs>
            <a:gs pos="100000">
              <a:schemeClr val="accent6"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sx="1000" sy="1000" algn="ctr" rotWithShape="0">
            <a:schemeClr val="bg1"/>
          </a:outerShdw>
        </a:effectLst>
      </dgm:spPr>
      <dgm:t>
        <a:bodyPr/>
        <a:lstStyle/>
        <a:p>
          <a:endParaRPr lang="pt-PT" sz="1400" dirty="0"/>
        </a:p>
      </dgm:t>
    </dgm:pt>
    <dgm:pt modelId="{B5BEEBC7-B07F-4D34-BBD7-B86679EA7079}" type="parTrans" cxnId="{ADA27F30-DB73-4324-BCA6-A32BAF3B8E3F}">
      <dgm:prSet/>
      <dgm:spPr/>
      <dgm:t>
        <a:bodyPr/>
        <a:lstStyle/>
        <a:p>
          <a:endParaRPr lang="pt-PT"/>
        </a:p>
      </dgm:t>
    </dgm:pt>
    <dgm:pt modelId="{F70A5A38-538B-412D-BE70-ED50931AA4BD}" type="sibTrans" cxnId="{ADA27F30-DB73-4324-BCA6-A32BAF3B8E3F}">
      <dgm:prSet/>
      <dgm:spPr/>
      <dgm:t>
        <a:bodyPr/>
        <a:lstStyle/>
        <a:p>
          <a:endParaRPr lang="pt-PT"/>
        </a:p>
      </dgm:t>
    </dgm:pt>
    <dgm:pt modelId="{AB77B1A3-CE96-4237-A988-92B7400630D1}">
      <dgm:prSet phldrT="[Texto]" custT="1"/>
      <dgm:spPr>
        <a:gradFill rotWithShape="0">
          <a:gsLst>
            <a:gs pos="0">
              <a:schemeClr val="accent6">
                <a:tint val="50000"/>
                <a:satMod val="300000"/>
              </a:schemeClr>
            </a:gs>
            <a:gs pos="35000">
              <a:schemeClr val="accent6">
                <a:tint val="37000"/>
                <a:satMod val="300000"/>
              </a:schemeClr>
            </a:gs>
            <a:gs pos="100000">
              <a:schemeClr val="accent6"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sx="1000" sy="1000" algn="ctr" rotWithShape="0">
            <a:schemeClr val="bg1"/>
          </a:outerShdw>
        </a:effectLst>
      </dgm:spPr>
      <dgm:t>
        <a:bodyPr/>
        <a:lstStyle/>
        <a:p>
          <a:r>
            <a:rPr lang="pt-PT" sz="3200" dirty="0" smtClean="0"/>
            <a:t>Sistema de Apoio a Ações Coletivas</a:t>
          </a:r>
          <a:endParaRPr lang="pt-PT" sz="3200" dirty="0"/>
        </a:p>
      </dgm:t>
    </dgm:pt>
    <dgm:pt modelId="{55EE3203-E3B8-4C66-9C0B-A5A3905BB011}" type="parTrans" cxnId="{CD2875AC-131A-4ECF-8E45-A1AA8D447ED6}">
      <dgm:prSet/>
      <dgm:spPr/>
      <dgm:t>
        <a:bodyPr/>
        <a:lstStyle/>
        <a:p>
          <a:endParaRPr lang="pt-PT"/>
        </a:p>
      </dgm:t>
    </dgm:pt>
    <dgm:pt modelId="{E637C7D7-0311-4741-BE78-BB094913E02C}" type="sibTrans" cxnId="{CD2875AC-131A-4ECF-8E45-A1AA8D447ED6}">
      <dgm:prSet/>
      <dgm:spPr/>
      <dgm:t>
        <a:bodyPr/>
        <a:lstStyle/>
        <a:p>
          <a:endParaRPr lang="pt-PT"/>
        </a:p>
      </dgm:t>
    </dgm:pt>
    <dgm:pt modelId="{95B1FBE9-EEFD-4DD9-9F97-9DCFDABFD2C3}">
      <dgm:prSet phldrT="[Texto]"/>
      <dgm:spPr>
        <a:solidFill>
          <a:schemeClr val="accent6">
            <a:lumMod val="75000"/>
          </a:schemeClr>
        </a:solidFill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r>
            <a:rPr lang="pt-PT" dirty="0" smtClean="0">
              <a:solidFill>
                <a:schemeClr val="tx1"/>
              </a:solidFill>
            </a:rPr>
            <a:t>SAMA</a:t>
          </a:r>
          <a:endParaRPr lang="pt-PT" dirty="0">
            <a:solidFill>
              <a:schemeClr val="tx1"/>
            </a:solidFill>
          </a:endParaRPr>
        </a:p>
      </dgm:t>
    </dgm:pt>
    <dgm:pt modelId="{D9AFE9CB-944D-4A02-A3AC-D67B2FE76ED9}" type="parTrans" cxnId="{5B590FCE-3D9E-4E7B-9049-A0DB657B0B45}">
      <dgm:prSet/>
      <dgm:spPr/>
      <dgm:t>
        <a:bodyPr/>
        <a:lstStyle/>
        <a:p>
          <a:endParaRPr lang="pt-PT"/>
        </a:p>
      </dgm:t>
    </dgm:pt>
    <dgm:pt modelId="{F426B431-4BE5-4F01-B499-F7300358C74E}" type="sibTrans" cxnId="{5B590FCE-3D9E-4E7B-9049-A0DB657B0B45}">
      <dgm:prSet/>
      <dgm:spPr/>
      <dgm:t>
        <a:bodyPr/>
        <a:lstStyle/>
        <a:p>
          <a:endParaRPr lang="pt-PT"/>
        </a:p>
      </dgm:t>
    </dgm:pt>
    <dgm:pt modelId="{EC206DBA-375E-4D60-AAA1-AA2C90476BC1}">
      <dgm:prSet phldrT="[Texto]" phldr="1" custT="1"/>
      <dgm:spPr>
        <a:gradFill rotWithShape="0">
          <a:gsLst>
            <a:gs pos="0">
              <a:schemeClr val="accent6">
                <a:lumMod val="60000"/>
                <a:lumOff val="40000"/>
              </a:schemeClr>
            </a:gs>
            <a:gs pos="35000">
              <a:schemeClr val="accent6">
                <a:tint val="37000"/>
                <a:satMod val="300000"/>
              </a:schemeClr>
            </a:gs>
            <a:gs pos="100000">
              <a:schemeClr val="accent6">
                <a:tint val="15000"/>
                <a:satMod val="350000"/>
              </a:schemeClr>
            </a:gs>
          </a:gsLst>
          <a:lin ang="16200000" scaled="1"/>
        </a:gradFill>
        <a:ln>
          <a:noFill/>
        </a:ln>
      </dgm:spPr>
      <dgm:t>
        <a:bodyPr/>
        <a:lstStyle/>
        <a:p>
          <a:endParaRPr lang="pt-PT" sz="1400" dirty="0"/>
        </a:p>
      </dgm:t>
    </dgm:pt>
    <dgm:pt modelId="{917362DB-F482-473E-8E78-6C5AAF3B0E26}" type="parTrans" cxnId="{30E12DA4-BB28-41EF-863F-208743FB6DF3}">
      <dgm:prSet/>
      <dgm:spPr/>
      <dgm:t>
        <a:bodyPr/>
        <a:lstStyle/>
        <a:p>
          <a:endParaRPr lang="pt-PT"/>
        </a:p>
      </dgm:t>
    </dgm:pt>
    <dgm:pt modelId="{7E540AF6-CC44-476A-AE62-2FD530D4BFED}" type="sibTrans" cxnId="{30E12DA4-BB28-41EF-863F-208743FB6DF3}">
      <dgm:prSet/>
      <dgm:spPr/>
      <dgm:t>
        <a:bodyPr/>
        <a:lstStyle/>
        <a:p>
          <a:endParaRPr lang="pt-PT"/>
        </a:p>
      </dgm:t>
    </dgm:pt>
    <dgm:pt modelId="{F0B3FD53-A785-46AD-B273-B7BC5F6AD263}">
      <dgm:prSet phldrT="[Texto]" custT="1"/>
      <dgm:spPr>
        <a:gradFill rotWithShape="0">
          <a:gsLst>
            <a:gs pos="0">
              <a:schemeClr val="accent6">
                <a:lumMod val="60000"/>
                <a:lumOff val="40000"/>
              </a:schemeClr>
            </a:gs>
            <a:gs pos="35000">
              <a:schemeClr val="accent6">
                <a:tint val="37000"/>
                <a:satMod val="300000"/>
              </a:schemeClr>
            </a:gs>
            <a:gs pos="100000">
              <a:schemeClr val="accent6">
                <a:tint val="15000"/>
                <a:satMod val="350000"/>
              </a:schemeClr>
            </a:gs>
          </a:gsLst>
          <a:lin ang="16200000" scaled="1"/>
        </a:gradFill>
        <a:ln>
          <a:noFill/>
        </a:ln>
      </dgm:spPr>
      <dgm:t>
        <a:bodyPr/>
        <a:lstStyle/>
        <a:p>
          <a:r>
            <a:rPr lang="pt-PT" sz="3200" dirty="0" smtClean="0"/>
            <a:t>Sistema de Apoio à Modernização Administrativa</a:t>
          </a:r>
          <a:endParaRPr lang="pt-PT" sz="3200" dirty="0"/>
        </a:p>
      </dgm:t>
    </dgm:pt>
    <dgm:pt modelId="{AB6AB5DA-3443-4319-90A3-6BBD72FBB827}" type="parTrans" cxnId="{08FDEC48-0D30-43B5-85D7-F69BC8F9E916}">
      <dgm:prSet/>
      <dgm:spPr/>
      <dgm:t>
        <a:bodyPr/>
        <a:lstStyle/>
        <a:p>
          <a:endParaRPr lang="pt-PT"/>
        </a:p>
      </dgm:t>
    </dgm:pt>
    <dgm:pt modelId="{9CE7F100-3F4B-4E48-BD3E-47A53AC6526E}" type="sibTrans" cxnId="{08FDEC48-0D30-43B5-85D7-F69BC8F9E916}">
      <dgm:prSet/>
      <dgm:spPr/>
      <dgm:t>
        <a:bodyPr/>
        <a:lstStyle/>
        <a:p>
          <a:endParaRPr lang="pt-PT"/>
        </a:p>
      </dgm:t>
    </dgm:pt>
    <dgm:pt modelId="{C5AD3DF7-5111-4C74-AFAB-EF900E43B46B}" type="pres">
      <dgm:prSet presAssocID="{6C1DEF8F-E337-49F7-93BA-C392560D0641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pt-PT"/>
        </a:p>
      </dgm:t>
    </dgm:pt>
    <dgm:pt modelId="{ADAB94C3-2460-49D3-B704-0254C69629C6}" type="pres">
      <dgm:prSet presAssocID="{9CE7EBC9-E93C-40CC-92FA-BDD36E93079C}" presName="linNode" presStyleCnt="0"/>
      <dgm:spPr/>
    </dgm:pt>
    <dgm:pt modelId="{DBFF3BE6-1ED3-45BD-B219-428FAD19BB4A}" type="pres">
      <dgm:prSet presAssocID="{9CE7EBC9-E93C-40CC-92FA-BDD36E93079C}" presName="parentShp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73A50D3C-7B73-407C-844F-CDECD5653FD7}" type="pres">
      <dgm:prSet presAssocID="{9CE7EBC9-E93C-40CC-92FA-BDD36E93079C}" presName="childShp" presStyleLbl="b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A59F14A1-B508-43FD-AAAE-D9D2CB66583A}" type="pres">
      <dgm:prSet presAssocID="{F8B661B8-62CC-4FBC-9045-AE8BFF9BAE16}" presName="spacing" presStyleCnt="0"/>
      <dgm:spPr/>
    </dgm:pt>
    <dgm:pt modelId="{771C51A5-58DF-49AB-A2C5-3092F9182F04}" type="pres">
      <dgm:prSet presAssocID="{95B1FBE9-EEFD-4DD9-9F97-9DCFDABFD2C3}" presName="linNode" presStyleCnt="0"/>
      <dgm:spPr/>
    </dgm:pt>
    <dgm:pt modelId="{6B172D87-3C0A-4C3D-ACBE-31D03AD02410}" type="pres">
      <dgm:prSet presAssocID="{95B1FBE9-EEFD-4DD9-9F97-9DCFDABFD2C3}" presName="parentShp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BF4E6C0B-301F-487F-8C07-BBED2FB45B3D}" type="pres">
      <dgm:prSet presAssocID="{95B1FBE9-EEFD-4DD9-9F97-9DCFDABFD2C3}" presName="childShp" presStyleLbl="bg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5B590FCE-3D9E-4E7B-9049-A0DB657B0B45}" srcId="{6C1DEF8F-E337-49F7-93BA-C392560D0641}" destId="{95B1FBE9-EEFD-4DD9-9F97-9DCFDABFD2C3}" srcOrd="1" destOrd="0" parTransId="{D9AFE9CB-944D-4A02-A3AC-D67B2FE76ED9}" sibTransId="{F426B431-4BE5-4F01-B499-F7300358C74E}"/>
    <dgm:cxn modelId="{95517299-0FD9-48BA-845E-5E97A8A1F611}" type="presOf" srcId="{30DEF398-1F54-4501-B6DB-85D451F4E34F}" destId="{73A50D3C-7B73-407C-844F-CDECD5653FD7}" srcOrd="0" destOrd="0" presId="urn:microsoft.com/office/officeart/2005/8/layout/vList6"/>
    <dgm:cxn modelId="{D502100A-48D9-4723-BA16-0293054F856F}" type="presOf" srcId="{9CE7EBC9-E93C-40CC-92FA-BDD36E93079C}" destId="{DBFF3BE6-1ED3-45BD-B219-428FAD19BB4A}" srcOrd="0" destOrd="0" presId="urn:microsoft.com/office/officeart/2005/8/layout/vList6"/>
    <dgm:cxn modelId="{E32E67CA-1BA6-4DA7-9C4F-85E5B0A4E4BB}" type="presOf" srcId="{AB77B1A3-CE96-4237-A988-92B7400630D1}" destId="{73A50D3C-7B73-407C-844F-CDECD5653FD7}" srcOrd="0" destOrd="1" presId="urn:microsoft.com/office/officeart/2005/8/layout/vList6"/>
    <dgm:cxn modelId="{08FDEC48-0D30-43B5-85D7-F69BC8F9E916}" srcId="{95B1FBE9-EEFD-4DD9-9F97-9DCFDABFD2C3}" destId="{F0B3FD53-A785-46AD-B273-B7BC5F6AD263}" srcOrd="1" destOrd="0" parTransId="{AB6AB5DA-3443-4319-90A3-6BBD72FBB827}" sibTransId="{9CE7F100-3F4B-4E48-BD3E-47A53AC6526E}"/>
    <dgm:cxn modelId="{8F59DB38-3742-4E54-9CB2-D5187539F3AB}" srcId="{6C1DEF8F-E337-49F7-93BA-C392560D0641}" destId="{9CE7EBC9-E93C-40CC-92FA-BDD36E93079C}" srcOrd="0" destOrd="0" parTransId="{2DA6795D-2DF1-41DA-BFC7-B4F5B79E5ED2}" sibTransId="{F8B661B8-62CC-4FBC-9045-AE8BFF9BAE16}"/>
    <dgm:cxn modelId="{CD2875AC-131A-4ECF-8E45-A1AA8D447ED6}" srcId="{9CE7EBC9-E93C-40CC-92FA-BDD36E93079C}" destId="{AB77B1A3-CE96-4237-A988-92B7400630D1}" srcOrd="1" destOrd="0" parTransId="{55EE3203-E3B8-4C66-9C0B-A5A3905BB011}" sibTransId="{E637C7D7-0311-4741-BE78-BB094913E02C}"/>
    <dgm:cxn modelId="{AEF829E5-4715-4D06-8EED-C0FDFC7D087A}" type="presOf" srcId="{EC206DBA-375E-4D60-AAA1-AA2C90476BC1}" destId="{BF4E6C0B-301F-487F-8C07-BBED2FB45B3D}" srcOrd="0" destOrd="0" presId="urn:microsoft.com/office/officeart/2005/8/layout/vList6"/>
    <dgm:cxn modelId="{A7E07E94-402A-4FFF-B264-9624CF5018AD}" type="presOf" srcId="{F0B3FD53-A785-46AD-B273-B7BC5F6AD263}" destId="{BF4E6C0B-301F-487F-8C07-BBED2FB45B3D}" srcOrd="0" destOrd="1" presId="urn:microsoft.com/office/officeart/2005/8/layout/vList6"/>
    <dgm:cxn modelId="{ADA27F30-DB73-4324-BCA6-A32BAF3B8E3F}" srcId="{9CE7EBC9-E93C-40CC-92FA-BDD36E93079C}" destId="{30DEF398-1F54-4501-B6DB-85D451F4E34F}" srcOrd="0" destOrd="0" parTransId="{B5BEEBC7-B07F-4D34-BBD7-B86679EA7079}" sibTransId="{F70A5A38-538B-412D-BE70-ED50931AA4BD}"/>
    <dgm:cxn modelId="{03F478E8-E100-47A9-9495-B24ED19947DB}" type="presOf" srcId="{95B1FBE9-EEFD-4DD9-9F97-9DCFDABFD2C3}" destId="{6B172D87-3C0A-4C3D-ACBE-31D03AD02410}" srcOrd="0" destOrd="0" presId="urn:microsoft.com/office/officeart/2005/8/layout/vList6"/>
    <dgm:cxn modelId="{16FA1692-30A8-438F-83A2-93F07AF16EA1}" type="presOf" srcId="{6C1DEF8F-E337-49F7-93BA-C392560D0641}" destId="{C5AD3DF7-5111-4C74-AFAB-EF900E43B46B}" srcOrd="0" destOrd="0" presId="urn:microsoft.com/office/officeart/2005/8/layout/vList6"/>
    <dgm:cxn modelId="{30E12DA4-BB28-41EF-863F-208743FB6DF3}" srcId="{95B1FBE9-EEFD-4DD9-9F97-9DCFDABFD2C3}" destId="{EC206DBA-375E-4D60-AAA1-AA2C90476BC1}" srcOrd="0" destOrd="0" parTransId="{917362DB-F482-473E-8E78-6C5AAF3B0E26}" sibTransId="{7E540AF6-CC44-476A-AE62-2FD530D4BFED}"/>
    <dgm:cxn modelId="{A65CF8F7-8E78-48DA-80BE-A2ADE283A24E}" type="presParOf" srcId="{C5AD3DF7-5111-4C74-AFAB-EF900E43B46B}" destId="{ADAB94C3-2460-49D3-B704-0254C69629C6}" srcOrd="0" destOrd="0" presId="urn:microsoft.com/office/officeart/2005/8/layout/vList6"/>
    <dgm:cxn modelId="{E150D25C-65A1-4C95-8656-99E4F564D538}" type="presParOf" srcId="{ADAB94C3-2460-49D3-B704-0254C69629C6}" destId="{DBFF3BE6-1ED3-45BD-B219-428FAD19BB4A}" srcOrd="0" destOrd="0" presId="urn:microsoft.com/office/officeart/2005/8/layout/vList6"/>
    <dgm:cxn modelId="{C19D40DE-FC83-4B49-95F2-6AC6129110E8}" type="presParOf" srcId="{ADAB94C3-2460-49D3-B704-0254C69629C6}" destId="{73A50D3C-7B73-407C-844F-CDECD5653FD7}" srcOrd="1" destOrd="0" presId="urn:microsoft.com/office/officeart/2005/8/layout/vList6"/>
    <dgm:cxn modelId="{3375EDD6-F74C-49BB-A215-BD7791287092}" type="presParOf" srcId="{C5AD3DF7-5111-4C74-AFAB-EF900E43B46B}" destId="{A59F14A1-B508-43FD-AAAE-D9D2CB66583A}" srcOrd="1" destOrd="0" presId="urn:microsoft.com/office/officeart/2005/8/layout/vList6"/>
    <dgm:cxn modelId="{EC1287E8-FF58-441F-AB5C-8D1743BCD6B9}" type="presParOf" srcId="{C5AD3DF7-5111-4C74-AFAB-EF900E43B46B}" destId="{771C51A5-58DF-49AB-A2C5-3092F9182F04}" srcOrd="2" destOrd="0" presId="urn:microsoft.com/office/officeart/2005/8/layout/vList6"/>
    <dgm:cxn modelId="{FA237ECA-E687-41C0-A791-BA240DD32CC6}" type="presParOf" srcId="{771C51A5-58DF-49AB-A2C5-3092F9182F04}" destId="{6B172D87-3C0A-4C3D-ACBE-31D03AD02410}" srcOrd="0" destOrd="0" presId="urn:microsoft.com/office/officeart/2005/8/layout/vList6"/>
    <dgm:cxn modelId="{F521E6DE-C534-449F-A7DD-95E66E445ED3}" type="presParOf" srcId="{771C51A5-58DF-49AB-A2C5-3092F9182F04}" destId="{BF4E6C0B-301F-487F-8C07-BBED2FB45B3D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E14FBBEF-D893-4C04-87FC-BA9AED97A429}" type="doc">
      <dgm:prSet loTypeId="urn:microsoft.com/office/officeart/2008/layout/HorizontalMultiLevelHierarchy" loCatId="hierarchy" qsTypeId="urn:microsoft.com/office/officeart/2005/8/quickstyle/simple1#5" qsCatId="simple" csTypeId="urn:microsoft.com/office/officeart/2005/8/colors/accent2_5" csCatId="accent2" phldr="1"/>
      <dgm:spPr/>
      <dgm:t>
        <a:bodyPr/>
        <a:lstStyle/>
        <a:p>
          <a:endParaRPr lang="pt-PT"/>
        </a:p>
      </dgm:t>
    </dgm:pt>
    <dgm:pt modelId="{4585E753-D177-4E4F-9B06-181B48C7BA83}">
      <dgm:prSet custT="1"/>
      <dgm:spPr>
        <a:solidFill>
          <a:srgbClr val="00B050"/>
        </a:solidFill>
      </dgm:spPr>
      <dgm:t>
        <a:bodyPr/>
        <a:lstStyle/>
        <a:p>
          <a:r>
            <a:rPr lang="pt-PT" sz="2000" b="1" dirty="0" smtClean="0">
              <a:latin typeface="Arial" pitchFamily="34" charset="0"/>
              <a:cs typeface="Arial" pitchFamily="34" charset="0"/>
            </a:rPr>
            <a:t>Capital de risco e Linhas de Crédito</a:t>
          </a:r>
        </a:p>
        <a:p>
          <a:r>
            <a:rPr lang="pt-PT" sz="2000" dirty="0" smtClean="0">
              <a:latin typeface="Arial" pitchFamily="34" charset="0"/>
              <a:cs typeface="Arial" pitchFamily="34" charset="0"/>
            </a:rPr>
            <a:t>Francisco Nunes</a:t>
          </a:r>
          <a:endParaRPr lang="pt-PT" sz="2000" dirty="0">
            <a:latin typeface="Arial" pitchFamily="34" charset="0"/>
            <a:cs typeface="Arial" pitchFamily="34" charset="0"/>
          </a:endParaRPr>
        </a:p>
      </dgm:t>
    </dgm:pt>
    <dgm:pt modelId="{0859D9C3-D577-4526-9789-F13262209745}" type="parTrans" cxnId="{098FAD07-0472-4230-8B5E-7BEB0E181992}">
      <dgm:prSet/>
      <dgm:spPr>
        <a:solidFill>
          <a:srgbClr val="00B050"/>
        </a:solidFill>
        <a:ln>
          <a:solidFill>
            <a:srgbClr val="00B050"/>
          </a:solidFill>
        </a:ln>
      </dgm:spPr>
      <dgm:t>
        <a:bodyPr/>
        <a:lstStyle/>
        <a:p>
          <a:endParaRPr lang="pt-PT" dirty="0"/>
        </a:p>
      </dgm:t>
    </dgm:pt>
    <dgm:pt modelId="{38CF8666-F6FE-485A-98E8-B3229386D4B1}" type="sibTrans" cxnId="{098FAD07-0472-4230-8B5E-7BEB0E181992}">
      <dgm:prSet/>
      <dgm:spPr/>
      <dgm:t>
        <a:bodyPr/>
        <a:lstStyle/>
        <a:p>
          <a:endParaRPr lang="pt-PT"/>
        </a:p>
      </dgm:t>
    </dgm:pt>
    <dgm:pt modelId="{B0140155-4EF7-42EE-BBE6-B058F5727C79}">
      <dgm:prSet custT="1"/>
      <dgm:spPr>
        <a:solidFill>
          <a:srgbClr val="00B050"/>
        </a:solidFill>
      </dgm:spPr>
      <dgm:t>
        <a:bodyPr/>
        <a:lstStyle/>
        <a:p>
          <a:r>
            <a:rPr lang="pt-PT" sz="2000" b="1" kern="1200" dirty="0" smtClean="0">
              <a:solidFill>
                <a:schemeClr val="bg1"/>
              </a:solidFill>
              <a:latin typeface="Arial" charset="0"/>
              <a:ea typeface="Geneva" charset="0"/>
              <a:cs typeface="Arial" charset="0"/>
            </a:rPr>
            <a:t>COMPETE</a:t>
          </a:r>
          <a:endParaRPr lang="pt-PT" sz="2000" b="1" kern="1200" dirty="0">
            <a:solidFill>
              <a:schemeClr val="bg1"/>
            </a:solidFill>
            <a:latin typeface="Arial" charset="0"/>
            <a:ea typeface="Geneva" charset="0"/>
            <a:cs typeface="Arial" charset="0"/>
          </a:endParaRPr>
        </a:p>
      </dgm:t>
    </dgm:pt>
    <dgm:pt modelId="{CE8D7880-81D9-4EF0-BC8D-AF04D693E543}" type="parTrans" cxnId="{F691E520-FDEF-4190-A4D3-2DC674C575A7}">
      <dgm:prSet/>
      <dgm:spPr/>
      <dgm:t>
        <a:bodyPr/>
        <a:lstStyle/>
        <a:p>
          <a:endParaRPr lang="pt-PT"/>
        </a:p>
      </dgm:t>
    </dgm:pt>
    <dgm:pt modelId="{2A9A68A8-ACE5-4D8B-8AA9-26BC457776CF}" type="sibTrans" cxnId="{F691E520-FDEF-4190-A4D3-2DC674C575A7}">
      <dgm:prSet/>
      <dgm:spPr/>
      <dgm:t>
        <a:bodyPr/>
        <a:lstStyle/>
        <a:p>
          <a:endParaRPr lang="pt-PT"/>
        </a:p>
      </dgm:t>
    </dgm:pt>
    <dgm:pt modelId="{DDDF14F8-142E-4E3C-9117-928E18802F9D}">
      <dgm:prSet custT="1"/>
      <dgm:spPr>
        <a:solidFill>
          <a:srgbClr val="00B050"/>
        </a:solidFill>
      </dgm:spPr>
      <dgm:t>
        <a:bodyPr/>
        <a:lstStyle/>
        <a:p>
          <a:r>
            <a:rPr lang="pt-PT" sz="2000" b="1" dirty="0" smtClean="0">
              <a:latin typeface="Arial" pitchFamily="34" charset="0"/>
              <a:cs typeface="Arial" pitchFamily="34" charset="0"/>
            </a:rPr>
            <a:t>SI I&amp;DT e SAESCTN</a:t>
          </a:r>
        </a:p>
        <a:p>
          <a:r>
            <a:rPr lang="pt-PT" sz="2000" dirty="0" smtClean="0">
              <a:latin typeface="Arial" pitchFamily="34" charset="0"/>
              <a:cs typeface="Arial" pitchFamily="34" charset="0"/>
            </a:rPr>
            <a:t>Marco Granja</a:t>
          </a:r>
          <a:endParaRPr lang="pt-PT" sz="2000" dirty="0">
            <a:latin typeface="Arial" pitchFamily="34" charset="0"/>
            <a:cs typeface="Arial" pitchFamily="34" charset="0"/>
          </a:endParaRPr>
        </a:p>
      </dgm:t>
    </dgm:pt>
    <dgm:pt modelId="{4DC1CCFA-FE67-4E33-BB72-BBCF3C0D07A1}" type="parTrans" cxnId="{5E45DB02-BFEC-4A00-A1CF-B0D70169D190}">
      <dgm:prSet/>
      <dgm:spPr>
        <a:ln>
          <a:solidFill>
            <a:srgbClr val="00B050"/>
          </a:solidFill>
        </a:ln>
      </dgm:spPr>
      <dgm:t>
        <a:bodyPr/>
        <a:lstStyle/>
        <a:p>
          <a:endParaRPr lang="pt-PT" dirty="0"/>
        </a:p>
      </dgm:t>
    </dgm:pt>
    <dgm:pt modelId="{3D26D09B-4C92-4777-82F6-DC7E0EA5BBCD}" type="sibTrans" cxnId="{5E45DB02-BFEC-4A00-A1CF-B0D70169D190}">
      <dgm:prSet/>
      <dgm:spPr/>
      <dgm:t>
        <a:bodyPr/>
        <a:lstStyle/>
        <a:p>
          <a:endParaRPr lang="pt-PT"/>
        </a:p>
      </dgm:t>
    </dgm:pt>
    <dgm:pt modelId="{36DE1901-BFAA-42DF-AD55-6E7F33B0A053}">
      <dgm:prSet custT="1"/>
      <dgm:spPr>
        <a:solidFill>
          <a:srgbClr val="00B050"/>
        </a:solidFill>
      </dgm:spPr>
      <dgm:t>
        <a:bodyPr/>
        <a:lstStyle/>
        <a:p>
          <a:r>
            <a:rPr lang="pt-PT" sz="2000" b="1" dirty="0" smtClean="0">
              <a:latin typeface="Arial" pitchFamily="34" charset="0"/>
              <a:cs typeface="Arial" pitchFamily="34" charset="0"/>
            </a:rPr>
            <a:t>SI Inovação, SI Qualificação PME e SAMA</a:t>
          </a:r>
        </a:p>
        <a:p>
          <a:r>
            <a:rPr lang="pt-PT" sz="2000" dirty="0" smtClean="0">
              <a:latin typeface="Arial" pitchFamily="34" charset="0"/>
              <a:cs typeface="Arial" pitchFamily="34" charset="0"/>
            </a:rPr>
            <a:t>Fernando Alfaiate</a:t>
          </a:r>
          <a:endParaRPr lang="pt-PT" sz="2000" dirty="0">
            <a:latin typeface="Arial" pitchFamily="34" charset="0"/>
            <a:cs typeface="Arial" pitchFamily="34" charset="0"/>
          </a:endParaRPr>
        </a:p>
      </dgm:t>
    </dgm:pt>
    <dgm:pt modelId="{B45CA203-BF26-4CFB-B4B1-8D40D1D6828F}" type="parTrans" cxnId="{07336F96-741D-459A-8D3C-27290A1933BF}">
      <dgm:prSet/>
      <dgm:spPr>
        <a:solidFill>
          <a:srgbClr val="00B050"/>
        </a:solidFill>
        <a:ln>
          <a:solidFill>
            <a:srgbClr val="00B050"/>
          </a:solidFill>
        </a:ln>
      </dgm:spPr>
      <dgm:t>
        <a:bodyPr/>
        <a:lstStyle/>
        <a:p>
          <a:endParaRPr lang="pt-PT" dirty="0"/>
        </a:p>
      </dgm:t>
    </dgm:pt>
    <dgm:pt modelId="{D3CD89F6-2A05-4238-82E2-1C48AF0963E8}" type="sibTrans" cxnId="{07336F96-741D-459A-8D3C-27290A1933BF}">
      <dgm:prSet/>
      <dgm:spPr/>
      <dgm:t>
        <a:bodyPr/>
        <a:lstStyle/>
        <a:p>
          <a:endParaRPr lang="pt-PT"/>
        </a:p>
      </dgm:t>
    </dgm:pt>
    <dgm:pt modelId="{D9254F6D-98FD-45C9-AE44-DEED07986775}">
      <dgm:prSet custT="1"/>
      <dgm:spPr>
        <a:solidFill>
          <a:srgbClr val="00B050"/>
        </a:solidFill>
      </dgm:spPr>
      <dgm:t>
        <a:bodyPr/>
        <a:lstStyle/>
        <a:p>
          <a:r>
            <a:rPr lang="pt-PT" sz="2000" b="1" dirty="0" smtClean="0">
              <a:latin typeface="Arial" pitchFamily="34" charset="0"/>
              <a:cs typeface="Arial" pitchFamily="34" charset="0"/>
            </a:rPr>
            <a:t>SIAC</a:t>
          </a:r>
        </a:p>
        <a:p>
          <a:r>
            <a:rPr lang="pt-PT" sz="2000" dirty="0" smtClean="0">
              <a:latin typeface="Arial" pitchFamily="34" charset="0"/>
              <a:cs typeface="Arial" pitchFamily="34" charset="0"/>
            </a:rPr>
            <a:t>Maria José Caçador</a:t>
          </a:r>
          <a:endParaRPr lang="pt-PT" sz="2000" dirty="0">
            <a:latin typeface="Arial" pitchFamily="34" charset="0"/>
            <a:cs typeface="Arial" pitchFamily="34" charset="0"/>
          </a:endParaRPr>
        </a:p>
      </dgm:t>
    </dgm:pt>
    <dgm:pt modelId="{925A1F23-4BF8-4BA6-B0B0-51C2CD637327}" type="parTrans" cxnId="{E9589F6D-AF42-47C7-BA83-4EED8EE05C85}">
      <dgm:prSet/>
      <dgm:spPr>
        <a:solidFill>
          <a:srgbClr val="00B050"/>
        </a:solidFill>
        <a:ln>
          <a:solidFill>
            <a:srgbClr val="00B050"/>
          </a:solidFill>
        </a:ln>
      </dgm:spPr>
      <dgm:t>
        <a:bodyPr/>
        <a:lstStyle/>
        <a:p>
          <a:endParaRPr lang="pt-PT" dirty="0"/>
        </a:p>
      </dgm:t>
    </dgm:pt>
    <dgm:pt modelId="{F113E6D4-5C0B-4FAC-88C7-770DF5399135}" type="sibTrans" cxnId="{E9589F6D-AF42-47C7-BA83-4EED8EE05C85}">
      <dgm:prSet/>
      <dgm:spPr/>
      <dgm:t>
        <a:bodyPr/>
        <a:lstStyle/>
        <a:p>
          <a:endParaRPr lang="pt-PT"/>
        </a:p>
      </dgm:t>
    </dgm:pt>
    <dgm:pt modelId="{8B836743-9843-4EFA-9015-FCDA4C8BA0FF}" type="pres">
      <dgm:prSet presAssocID="{E14FBBEF-D893-4C04-87FC-BA9AED97A429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796CDD92-ED02-4765-9FD6-EDFF5A366D3E}" type="pres">
      <dgm:prSet presAssocID="{B0140155-4EF7-42EE-BBE6-B058F5727C79}" presName="root1" presStyleCnt="0"/>
      <dgm:spPr/>
    </dgm:pt>
    <dgm:pt modelId="{16B10253-94DD-4EE1-907A-74D8C494CD43}" type="pres">
      <dgm:prSet presAssocID="{B0140155-4EF7-42EE-BBE6-B058F5727C79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36056A6E-704B-44D4-AA83-C18E5EB84407}" type="pres">
      <dgm:prSet presAssocID="{B0140155-4EF7-42EE-BBE6-B058F5727C79}" presName="level2hierChild" presStyleCnt="0"/>
      <dgm:spPr/>
    </dgm:pt>
    <dgm:pt modelId="{6B5544B4-CAC1-4035-815C-128B4EECBDA9}" type="pres">
      <dgm:prSet presAssocID="{0859D9C3-D577-4526-9789-F13262209745}" presName="conn2-1" presStyleLbl="parChTrans1D2" presStyleIdx="0" presStyleCnt="4"/>
      <dgm:spPr/>
      <dgm:t>
        <a:bodyPr/>
        <a:lstStyle/>
        <a:p>
          <a:endParaRPr lang="pt-PT"/>
        </a:p>
      </dgm:t>
    </dgm:pt>
    <dgm:pt modelId="{02A7B82C-135A-48C2-8240-10DF451C7A98}" type="pres">
      <dgm:prSet presAssocID="{0859D9C3-D577-4526-9789-F13262209745}" presName="connTx" presStyleLbl="parChTrans1D2" presStyleIdx="0" presStyleCnt="4"/>
      <dgm:spPr/>
      <dgm:t>
        <a:bodyPr/>
        <a:lstStyle/>
        <a:p>
          <a:endParaRPr lang="pt-PT"/>
        </a:p>
      </dgm:t>
    </dgm:pt>
    <dgm:pt modelId="{E7B595F0-2F99-47EA-A9EC-8A29BE3E229E}" type="pres">
      <dgm:prSet presAssocID="{4585E753-D177-4E4F-9B06-181B48C7BA83}" presName="root2" presStyleCnt="0"/>
      <dgm:spPr/>
    </dgm:pt>
    <dgm:pt modelId="{0F223507-4537-40D8-A315-6691476C84E5}" type="pres">
      <dgm:prSet presAssocID="{4585E753-D177-4E4F-9B06-181B48C7BA83}" presName="LevelTwoTextNode" presStyleLbl="node2" presStyleIdx="0" presStyleCnt="4" custScaleX="212351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E4F7972D-F679-475F-8892-F67306DF274E}" type="pres">
      <dgm:prSet presAssocID="{4585E753-D177-4E4F-9B06-181B48C7BA83}" presName="level3hierChild" presStyleCnt="0"/>
      <dgm:spPr/>
    </dgm:pt>
    <dgm:pt modelId="{D6C059D2-C904-4861-9416-7818032D44BD}" type="pres">
      <dgm:prSet presAssocID="{4DC1CCFA-FE67-4E33-BB72-BBCF3C0D07A1}" presName="conn2-1" presStyleLbl="parChTrans1D2" presStyleIdx="1" presStyleCnt="4"/>
      <dgm:spPr/>
      <dgm:t>
        <a:bodyPr/>
        <a:lstStyle/>
        <a:p>
          <a:endParaRPr lang="pt-PT"/>
        </a:p>
      </dgm:t>
    </dgm:pt>
    <dgm:pt modelId="{3A22B09B-C978-4ABB-A29A-D46F55D9EBB5}" type="pres">
      <dgm:prSet presAssocID="{4DC1CCFA-FE67-4E33-BB72-BBCF3C0D07A1}" presName="connTx" presStyleLbl="parChTrans1D2" presStyleIdx="1" presStyleCnt="4"/>
      <dgm:spPr/>
      <dgm:t>
        <a:bodyPr/>
        <a:lstStyle/>
        <a:p>
          <a:endParaRPr lang="pt-PT"/>
        </a:p>
      </dgm:t>
    </dgm:pt>
    <dgm:pt modelId="{8EB833EB-5E60-4E4C-90C3-5551468FAB99}" type="pres">
      <dgm:prSet presAssocID="{DDDF14F8-142E-4E3C-9117-928E18802F9D}" presName="root2" presStyleCnt="0"/>
      <dgm:spPr/>
    </dgm:pt>
    <dgm:pt modelId="{ED04CF3D-EA3A-4DDE-A4E5-A61497ECF63A}" type="pres">
      <dgm:prSet presAssocID="{DDDF14F8-142E-4E3C-9117-928E18802F9D}" presName="LevelTwoTextNode" presStyleLbl="node2" presStyleIdx="1" presStyleCnt="4" custScaleX="211589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9F408797-1903-41C7-B22E-CAEB0A82CA86}" type="pres">
      <dgm:prSet presAssocID="{DDDF14F8-142E-4E3C-9117-928E18802F9D}" presName="level3hierChild" presStyleCnt="0"/>
      <dgm:spPr/>
    </dgm:pt>
    <dgm:pt modelId="{42A5FF64-0624-4F2A-B3CA-05B9C6BA72FC}" type="pres">
      <dgm:prSet presAssocID="{B45CA203-BF26-4CFB-B4B1-8D40D1D6828F}" presName="conn2-1" presStyleLbl="parChTrans1D2" presStyleIdx="2" presStyleCnt="4"/>
      <dgm:spPr/>
      <dgm:t>
        <a:bodyPr/>
        <a:lstStyle/>
        <a:p>
          <a:endParaRPr lang="pt-PT"/>
        </a:p>
      </dgm:t>
    </dgm:pt>
    <dgm:pt modelId="{6B30DD14-16A9-44A9-A16C-EA27B02A45AF}" type="pres">
      <dgm:prSet presAssocID="{B45CA203-BF26-4CFB-B4B1-8D40D1D6828F}" presName="connTx" presStyleLbl="parChTrans1D2" presStyleIdx="2" presStyleCnt="4"/>
      <dgm:spPr/>
      <dgm:t>
        <a:bodyPr/>
        <a:lstStyle/>
        <a:p>
          <a:endParaRPr lang="pt-PT"/>
        </a:p>
      </dgm:t>
    </dgm:pt>
    <dgm:pt modelId="{750A18BF-C18A-47A4-9A70-DE17805B2B98}" type="pres">
      <dgm:prSet presAssocID="{36DE1901-BFAA-42DF-AD55-6E7F33B0A053}" presName="root2" presStyleCnt="0"/>
      <dgm:spPr/>
    </dgm:pt>
    <dgm:pt modelId="{4C0F7543-35A9-488B-8B66-9ED42A42DE9D}" type="pres">
      <dgm:prSet presAssocID="{36DE1901-BFAA-42DF-AD55-6E7F33B0A053}" presName="LevelTwoTextNode" presStyleLbl="node2" presStyleIdx="2" presStyleCnt="4" custScaleX="211589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AB1F97FE-1167-40C9-A5D2-7875B1A3E07D}" type="pres">
      <dgm:prSet presAssocID="{36DE1901-BFAA-42DF-AD55-6E7F33B0A053}" presName="level3hierChild" presStyleCnt="0"/>
      <dgm:spPr/>
    </dgm:pt>
    <dgm:pt modelId="{082BE298-2A0A-41F9-A186-21E62997848D}" type="pres">
      <dgm:prSet presAssocID="{925A1F23-4BF8-4BA6-B0B0-51C2CD637327}" presName="conn2-1" presStyleLbl="parChTrans1D2" presStyleIdx="3" presStyleCnt="4"/>
      <dgm:spPr/>
      <dgm:t>
        <a:bodyPr/>
        <a:lstStyle/>
        <a:p>
          <a:endParaRPr lang="pt-PT"/>
        </a:p>
      </dgm:t>
    </dgm:pt>
    <dgm:pt modelId="{CAAF82BC-37CC-4653-9E2F-13A738D0E31C}" type="pres">
      <dgm:prSet presAssocID="{925A1F23-4BF8-4BA6-B0B0-51C2CD637327}" presName="connTx" presStyleLbl="parChTrans1D2" presStyleIdx="3" presStyleCnt="4"/>
      <dgm:spPr/>
      <dgm:t>
        <a:bodyPr/>
        <a:lstStyle/>
        <a:p>
          <a:endParaRPr lang="pt-PT"/>
        </a:p>
      </dgm:t>
    </dgm:pt>
    <dgm:pt modelId="{BB6BBDBE-C7C6-4FFA-A56A-ADF893BC8887}" type="pres">
      <dgm:prSet presAssocID="{D9254F6D-98FD-45C9-AE44-DEED07986775}" presName="root2" presStyleCnt="0"/>
      <dgm:spPr/>
    </dgm:pt>
    <dgm:pt modelId="{50BF7A64-F45F-4EAC-A6AE-FC179AC6FF4A}" type="pres">
      <dgm:prSet presAssocID="{D9254F6D-98FD-45C9-AE44-DEED07986775}" presName="LevelTwoTextNode" presStyleLbl="node2" presStyleIdx="3" presStyleCnt="4" custScaleX="211589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2FBBF65E-4CD3-43F3-8B96-C147D5C63A98}" type="pres">
      <dgm:prSet presAssocID="{D9254F6D-98FD-45C9-AE44-DEED07986775}" presName="level3hierChild" presStyleCnt="0"/>
      <dgm:spPr/>
    </dgm:pt>
  </dgm:ptLst>
  <dgm:cxnLst>
    <dgm:cxn modelId="{0ACC6242-E18A-4009-A9A3-F9EE48C6BD6D}" type="presOf" srcId="{B45CA203-BF26-4CFB-B4B1-8D40D1D6828F}" destId="{6B30DD14-16A9-44A9-A16C-EA27B02A45AF}" srcOrd="1" destOrd="0" presId="urn:microsoft.com/office/officeart/2008/layout/HorizontalMultiLevelHierarchy"/>
    <dgm:cxn modelId="{303E3144-D326-47F2-9B4D-5AD9EE9F7B58}" type="presOf" srcId="{925A1F23-4BF8-4BA6-B0B0-51C2CD637327}" destId="{CAAF82BC-37CC-4653-9E2F-13A738D0E31C}" srcOrd="1" destOrd="0" presId="urn:microsoft.com/office/officeart/2008/layout/HorizontalMultiLevelHierarchy"/>
    <dgm:cxn modelId="{92A1BB2C-6F58-4F2F-9CEC-F123F68F6DE3}" type="presOf" srcId="{DDDF14F8-142E-4E3C-9117-928E18802F9D}" destId="{ED04CF3D-EA3A-4DDE-A4E5-A61497ECF63A}" srcOrd="0" destOrd="0" presId="urn:microsoft.com/office/officeart/2008/layout/HorizontalMultiLevelHierarchy"/>
    <dgm:cxn modelId="{5CC8722C-949D-447C-8446-54DEF94B9C99}" type="presOf" srcId="{0859D9C3-D577-4526-9789-F13262209745}" destId="{6B5544B4-CAC1-4035-815C-128B4EECBDA9}" srcOrd="0" destOrd="0" presId="urn:microsoft.com/office/officeart/2008/layout/HorizontalMultiLevelHierarchy"/>
    <dgm:cxn modelId="{748BF1DA-C72D-4B6E-A8A3-7A992FA17929}" type="presOf" srcId="{4DC1CCFA-FE67-4E33-BB72-BBCF3C0D07A1}" destId="{D6C059D2-C904-4861-9416-7818032D44BD}" srcOrd="0" destOrd="0" presId="urn:microsoft.com/office/officeart/2008/layout/HorizontalMultiLevelHierarchy"/>
    <dgm:cxn modelId="{38FE9352-8303-4F77-9974-205B35A4F4CC}" type="presOf" srcId="{E14FBBEF-D893-4C04-87FC-BA9AED97A429}" destId="{8B836743-9843-4EFA-9015-FCDA4C8BA0FF}" srcOrd="0" destOrd="0" presId="urn:microsoft.com/office/officeart/2008/layout/HorizontalMultiLevelHierarchy"/>
    <dgm:cxn modelId="{3D5258E0-BBED-4534-9D31-B2107D3DB747}" type="presOf" srcId="{B45CA203-BF26-4CFB-B4B1-8D40D1D6828F}" destId="{42A5FF64-0624-4F2A-B3CA-05B9C6BA72FC}" srcOrd="0" destOrd="0" presId="urn:microsoft.com/office/officeart/2008/layout/HorizontalMultiLevelHierarchy"/>
    <dgm:cxn modelId="{ED50E620-6478-4412-88DB-F540302E5937}" type="presOf" srcId="{36DE1901-BFAA-42DF-AD55-6E7F33B0A053}" destId="{4C0F7543-35A9-488B-8B66-9ED42A42DE9D}" srcOrd="0" destOrd="0" presId="urn:microsoft.com/office/officeart/2008/layout/HorizontalMultiLevelHierarchy"/>
    <dgm:cxn modelId="{001F6EC7-D3EF-42A6-8FB8-7772FB349456}" type="presOf" srcId="{4DC1CCFA-FE67-4E33-BB72-BBCF3C0D07A1}" destId="{3A22B09B-C978-4ABB-A29A-D46F55D9EBB5}" srcOrd="1" destOrd="0" presId="urn:microsoft.com/office/officeart/2008/layout/HorizontalMultiLevelHierarchy"/>
    <dgm:cxn modelId="{D699F089-E490-4EE0-8076-BAB9F8CFFD8D}" type="presOf" srcId="{B0140155-4EF7-42EE-BBE6-B058F5727C79}" destId="{16B10253-94DD-4EE1-907A-74D8C494CD43}" srcOrd="0" destOrd="0" presId="urn:microsoft.com/office/officeart/2008/layout/HorizontalMultiLevelHierarchy"/>
    <dgm:cxn modelId="{879B1A14-556C-4D50-BF45-B1CAF2C08F69}" type="presOf" srcId="{925A1F23-4BF8-4BA6-B0B0-51C2CD637327}" destId="{082BE298-2A0A-41F9-A186-21E62997848D}" srcOrd="0" destOrd="0" presId="urn:microsoft.com/office/officeart/2008/layout/HorizontalMultiLevelHierarchy"/>
    <dgm:cxn modelId="{578DB459-6620-4659-8195-219A51B35F5D}" type="presOf" srcId="{4585E753-D177-4E4F-9B06-181B48C7BA83}" destId="{0F223507-4537-40D8-A315-6691476C84E5}" srcOrd="0" destOrd="0" presId="urn:microsoft.com/office/officeart/2008/layout/HorizontalMultiLevelHierarchy"/>
    <dgm:cxn modelId="{098FAD07-0472-4230-8B5E-7BEB0E181992}" srcId="{B0140155-4EF7-42EE-BBE6-B058F5727C79}" destId="{4585E753-D177-4E4F-9B06-181B48C7BA83}" srcOrd="0" destOrd="0" parTransId="{0859D9C3-D577-4526-9789-F13262209745}" sibTransId="{38CF8666-F6FE-485A-98E8-B3229386D4B1}"/>
    <dgm:cxn modelId="{07336F96-741D-459A-8D3C-27290A1933BF}" srcId="{B0140155-4EF7-42EE-BBE6-B058F5727C79}" destId="{36DE1901-BFAA-42DF-AD55-6E7F33B0A053}" srcOrd="2" destOrd="0" parTransId="{B45CA203-BF26-4CFB-B4B1-8D40D1D6828F}" sibTransId="{D3CD89F6-2A05-4238-82E2-1C48AF0963E8}"/>
    <dgm:cxn modelId="{5E45DB02-BFEC-4A00-A1CF-B0D70169D190}" srcId="{B0140155-4EF7-42EE-BBE6-B058F5727C79}" destId="{DDDF14F8-142E-4E3C-9117-928E18802F9D}" srcOrd="1" destOrd="0" parTransId="{4DC1CCFA-FE67-4E33-BB72-BBCF3C0D07A1}" sibTransId="{3D26D09B-4C92-4777-82F6-DC7E0EA5BBCD}"/>
    <dgm:cxn modelId="{F691E520-FDEF-4190-A4D3-2DC674C575A7}" srcId="{E14FBBEF-D893-4C04-87FC-BA9AED97A429}" destId="{B0140155-4EF7-42EE-BBE6-B058F5727C79}" srcOrd="0" destOrd="0" parTransId="{CE8D7880-81D9-4EF0-BC8D-AF04D693E543}" sibTransId="{2A9A68A8-ACE5-4D8B-8AA9-26BC457776CF}"/>
    <dgm:cxn modelId="{E0A67A7A-FBC1-42D7-B574-AC393FD5A700}" type="presOf" srcId="{D9254F6D-98FD-45C9-AE44-DEED07986775}" destId="{50BF7A64-F45F-4EAC-A6AE-FC179AC6FF4A}" srcOrd="0" destOrd="0" presId="urn:microsoft.com/office/officeart/2008/layout/HorizontalMultiLevelHierarchy"/>
    <dgm:cxn modelId="{870208E2-124B-4CF7-86BB-57708EE08A56}" type="presOf" srcId="{0859D9C3-D577-4526-9789-F13262209745}" destId="{02A7B82C-135A-48C2-8240-10DF451C7A98}" srcOrd="1" destOrd="0" presId="urn:microsoft.com/office/officeart/2008/layout/HorizontalMultiLevelHierarchy"/>
    <dgm:cxn modelId="{E9589F6D-AF42-47C7-BA83-4EED8EE05C85}" srcId="{B0140155-4EF7-42EE-BBE6-B058F5727C79}" destId="{D9254F6D-98FD-45C9-AE44-DEED07986775}" srcOrd="3" destOrd="0" parTransId="{925A1F23-4BF8-4BA6-B0B0-51C2CD637327}" sibTransId="{F113E6D4-5C0B-4FAC-88C7-770DF5399135}"/>
    <dgm:cxn modelId="{0EBE3E84-D356-401D-B31C-5E423CADB7AE}" type="presParOf" srcId="{8B836743-9843-4EFA-9015-FCDA4C8BA0FF}" destId="{796CDD92-ED02-4765-9FD6-EDFF5A366D3E}" srcOrd="0" destOrd="0" presId="urn:microsoft.com/office/officeart/2008/layout/HorizontalMultiLevelHierarchy"/>
    <dgm:cxn modelId="{B14D75E6-F266-4CE7-A9D7-9907168369D1}" type="presParOf" srcId="{796CDD92-ED02-4765-9FD6-EDFF5A366D3E}" destId="{16B10253-94DD-4EE1-907A-74D8C494CD43}" srcOrd="0" destOrd="0" presId="urn:microsoft.com/office/officeart/2008/layout/HorizontalMultiLevelHierarchy"/>
    <dgm:cxn modelId="{434BC34C-4F02-45EB-8581-00BFCDB453A4}" type="presParOf" srcId="{796CDD92-ED02-4765-9FD6-EDFF5A366D3E}" destId="{36056A6E-704B-44D4-AA83-C18E5EB84407}" srcOrd="1" destOrd="0" presId="urn:microsoft.com/office/officeart/2008/layout/HorizontalMultiLevelHierarchy"/>
    <dgm:cxn modelId="{18D66FD9-CD38-4A81-AEB1-32C8281103D5}" type="presParOf" srcId="{36056A6E-704B-44D4-AA83-C18E5EB84407}" destId="{6B5544B4-CAC1-4035-815C-128B4EECBDA9}" srcOrd="0" destOrd="0" presId="urn:microsoft.com/office/officeart/2008/layout/HorizontalMultiLevelHierarchy"/>
    <dgm:cxn modelId="{E6C03AC6-3FA7-4607-8530-CC01FA557267}" type="presParOf" srcId="{6B5544B4-CAC1-4035-815C-128B4EECBDA9}" destId="{02A7B82C-135A-48C2-8240-10DF451C7A98}" srcOrd="0" destOrd="0" presId="urn:microsoft.com/office/officeart/2008/layout/HorizontalMultiLevelHierarchy"/>
    <dgm:cxn modelId="{7509C4C5-4708-4F70-B5ED-B5353BFB10B7}" type="presParOf" srcId="{36056A6E-704B-44D4-AA83-C18E5EB84407}" destId="{E7B595F0-2F99-47EA-A9EC-8A29BE3E229E}" srcOrd="1" destOrd="0" presId="urn:microsoft.com/office/officeart/2008/layout/HorizontalMultiLevelHierarchy"/>
    <dgm:cxn modelId="{F245E2F4-515E-4960-9603-BB086AF7A015}" type="presParOf" srcId="{E7B595F0-2F99-47EA-A9EC-8A29BE3E229E}" destId="{0F223507-4537-40D8-A315-6691476C84E5}" srcOrd="0" destOrd="0" presId="urn:microsoft.com/office/officeart/2008/layout/HorizontalMultiLevelHierarchy"/>
    <dgm:cxn modelId="{3DEF4492-D2C2-4735-B217-6A3EE6F860C4}" type="presParOf" srcId="{E7B595F0-2F99-47EA-A9EC-8A29BE3E229E}" destId="{E4F7972D-F679-475F-8892-F67306DF274E}" srcOrd="1" destOrd="0" presId="urn:microsoft.com/office/officeart/2008/layout/HorizontalMultiLevelHierarchy"/>
    <dgm:cxn modelId="{DD1A8C1D-2480-4274-99D5-211025D6A208}" type="presParOf" srcId="{36056A6E-704B-44D4-AA83-C18E5EB84407}" destId="{D6C059D2-C904-4861-9416-7818032D44BD}" srcOrd="2" destOrd="0" presId="urn:microsoft.com/office/officeart/2008/layout/HorizontalMultiLevelHierarchy"/>
    <dgm:cxn modelId="{FBE7FF81-CDAE-4862-AB29-16534D5C6A7C}" type="presParOf" srcId="{D6C059D2-C904-4861-9416-7818032D44BD}" destId="{3A22B09B-C978-4ABB-A29A-D46F55D9EBB5}" srcOrd="0" destOrd="0" presId="urn:microsoft.com/office/officeart/2008/layout/HorizontalMultiLevelHierarchy"/>
    <dgm:cxn modelId="{CB60AD03-02E6-4A27-82F1-B9D68C1B97F8}" type="presParOf" srcId="{36056A6E-704B-44D4-AA83-C18E5EB84407}" destId="{8EB833EB-5E60-4E4C-90C3-5551468FAB99}" srcOrd="3" destOrd="0" presId="urn:microsoft.com/office/officeart/2008/layout/HorizontalMultiLevelHierarchy"/>
    <dgm:cxn modelId="{F8D86DDE-6425-4045-A17A-3565ABC1248C}" type="presParOf" srcId="{8EB833EB-5E60-4E4C-90C3-5551468FAB99}" destId="{ED04CF3D-EA3A-4DDE-A4E5-A61497ECF63A}" srcOrd="0" destOrd="0" presId="urn:microsoft.com/office/officeart/2008/layout/HorizontalMultiLevelHierarchy"/>
    <dgm:cxn modelId="{923E52FD-8A59-4AD3-AD0D-2978E84ECF5E}" type="presParOf" srcId="{8EB833EB-5E60-4E4C-90C3-5551468FAB99}" destId="{9F408797-1903-41C7-B22E-CAEB0A82CA86}" srcOrd="1" destOrd="0" presId="urn:microsoft.com/office/officeart/2008/layout/HorizontalMultiLevelHierarchy"/>
    <dgm:cxn modelId="{53AE426C-84BA-4AB5-8F7F-4395955D3B72}" type="presParOf" srcId="{36056A6E-704B-44D4-AA83-C18E5EB84407}" destId="{42A5FF64-0624-4F2A-B3CA-05B9C6BA72FC}" srcOrd="4" destOrd="0" presId="urn:microsoft.com/office/officeart/2008/layout/HorizontalMultiLevelHierarchy"/>
    <dgm:cxn modelId="{C5810EA3-8C92-43F8-AB36-1DF7DA5C85D0}" type="presParOf" srcId="{42A5FF64-0624-4F2A-B3CA-05B9C6BA72FC}" destId="{6B30DD14-16A9-44A9-A16C-EA27B02A45AF}" srcOrd="0" destOrd="0" presId="urn:microsoft.com/office/officeart/2008/layout/HorizontalMultiLevelHierarchy"/>
    <dgm:cxn modelId="{F9914A2C-C752-4DFE-9503-6049CAA61989}" type="presParOf" srcId="{36056A6E-704B-44D4-AA83-C18E5EB84407}" destId="{750A18BF-C18A-47A4-9A70-DE17805B2B98}" srcOrd="5" destOrd="0" presId="urn:microsoft.com/office/officeart/2008/layout/HorizontalMultiLevelHierarchy"/>
    <dgm:cxn modelId="{2492D1F5-EBD3-4290-B0DA-0D37047F4831}" type="presParOf" srcId="{750A18BF-C18A-47A4-9A70-DE17805B2B98}" destId="{4C0F7543-35A9-488B-8B66-9ED42A42DE9D}" srcOrd="0" destOrd="0" presId="urn:microsoft.com/office/officeart/2008/layout/HorizontalMultiLevelHierarchy"/>
    <dgm:cxn modelId="{7FCD2BD1-F153-442B-A7B7-EA83FBE4F4C1}" type="presParOf" srcId="{750A18BF-C18A-47A4-9A70-DE17805B2B98}" destId="{AB1F97FE-1167-40C9-A5D2-7875B1A3E07D}" srcOrd="1" destOrd="0" presId="urn:microsoft.com/office/officeart/2008/layout/HorizontalMultiLevelHierarchy"/>
    <dgm:cxn modelId="{460049DE-ACB9-424E-829B-5ED3CFFE22CD}" type="presParOf" srcId="{36056A6E-704B-44D4-AA83-C18E5EB84407}" destId="{082BE298-2A0A-41F9-A186-21E62997848D}" srcOrd="6" destOrd="0" presId="urn:microsoft.com/office/officeart/2008/layout/HorizontalMultiLevelHierarchy"/>
    <dgm:cxn modelId="{E33E3004-2962-42BA-8113-208DDB570A6A}" type="presParOf" srcId="{082BE298-2A0A-41F9-A186-21E62997848D}" destId="{CAAF82BC-37CC-4653-9E2F-13A738D0E31C}" srcOrd="0" destOrd="0" presId="urn:microsoft.com/office/officeart/2008/layout/HorizontalMultiLevelHierarchy"/>
    <dgm:cxn modelId="{EDACB607-D787-4B55-9928-4A7EB8E44BCF}" type="presParOf" srcId="{36056A6E-704B-44D4-AA83-C18E5EB84407}" destId="{BB6BBDBE-C7C6-4FFA-A56A-ADF893BC8887}" srcOrd="7" destOrd="0" presId="urn:microsoft.com/office/officeart/2008/layout/HorizontalMultiLevelHierarchy"/>
    <dgm:cxn modelId="{72726D4F-70A8-4F8E-8A1B-359ADD658BDE}" type="presParOf" srcId="{BB6BBDBE-C7C6-4FFA-A56A-ADF893BC8887}" destId="{50BF7A64-F45F-4EAC-A6AE-FC179AC6FF4A}" srcOrd="0" destOrd="0" presId="urn:microsoft.com/office/officeart/2008/layout/HorizontalMultiLevelHierarchy"/>
    <dgm:cxn modelId="{76CE2D42-C720-4232-8E9C-A7E7EBE950E1}" type="presParOf" srcId="{BB6BBDBE-C7C6-4FFA-A56A-ADF893BC8887}" destId="{2FBBF65E-4CD3-43F3-8B96-C147D5C63A98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E14FBBEF-D893-4C04-87FC-BA9AED97A429}" type="doc">
      <dgm:prSet loTypeId="urn:microsoft.com/office/officeart/2008/layout/HorizontalMultiLevelHierarchy" loCatId="hierarchy" qsTypeId="urn:microsoft.com/office/officeart/2005/8/quickstyle/simple1#5" qsCatId="simple" csTypeId="urn:microsoft.com/office/officeart/2005/8/colors/accent2_5" csCatId="accent2" phldr="1"/>
      <dgm:spPr/>
      <dgm:t>
        <a:bodyPr/>
        <a:lstStyle/>
        <a:p>
          <a:endParaRPr lang="pt-PT"/>
        </a:p>
      </dgm:t>
    </dgm:pt>
    <dgm:pt modelId="{4585E753-D177-4E4F-9B06-181B48C7BA83}">
      <dgm:prSet custT="1"/>
      <dgm:spPr>
        <a:solidFill>
          <a:srgbClr val="E47823"/>
        </a:solidFill>
      </dgm:spPr>
      <dgm:t>
        <a:bodyPr/>
        <a:lstStyle/>
        <a:p>
          <a:r>
            <a:rPr lang="pt-PT" sz="2000" dirty="0" smtClean="0">
              <a:latin typeface="Arial" pitchFamily="34" charset="0"/>
              <a:cs typeface="Arial" pitchFamily="34" charset="0"/>
            </a:rPr>
            <a:t>PME Investimentos</a:t>
          </a:r>
        </a:p>
      </dgm:t>
    </dgm:pt>
    <dgm:pt modelId="{0859D9C3-D577-4526-9789-F13262209745}" type="parTrans" cxnId="{098FAD07-0472-4230-8B5E-7BEB0E181992}">
      <dgm:prSet/>
      <dgm:spPr>
        <a:ln>
          <a:solidFill>
            <a:srgbClr val="E47823"/>
          </a:solidFill>
        </a:ln>
      </dgm:spPr>
      <dgm:t>
        <a:bodyPr/>
        <a:lstStyle/>
        <a:p>
          <a:endParaRPr lang="pt-PT" dirty="0"/>
        </a:p>
      </dgm:t>
    </dgm:pt>
    <dgm:pt modelId="{38CF8666-F6FE-485A-98E8-B3229386D4B1}" type="sibTrans" cxnId="{098FAD07-0472-4230-8B5E-7BEB0E181992}">
      <dgm:prSet/>
      <dgm:spPr/>
      <dgm:t>
        <a:bodyPr/>
        <a:lstStyle/>
        <a:p>
          <a:endParaRPr lang="pt-PT"/>
        </a:p>
      </dgm:t>
    </dgm:pt>
    <dgm:pt modelId="{B0140155-4EF7-42EE-BBE6-B058F5727C79}">
      <dgm:prSet custT="1"/>
      <dgm:spPr>
        <a:solidFill>
          <a:srgbClr val="E47823"/>
        </a:solidFill>
      </dgm:spPr>
      <dgm:t>
        <a:bodyPr/>
        <a:lstStyle/>
        <a:p>
          <a:r>
            <a:rPr lang="pt-PT" sz="2000" b="1" kern="1200" dirty="0" smtClean="0">
              <a:solidFill>
                <a:schemeClr val="bg1"/>
              </a:solidFill>
              <a:latin typeface="Arial" charset="0"/>
              <a:ea typeface="Geneva" charset="0"/>
              <a:cs typeface="Arial" charset="0"/>
            </a:rPr>
            <a:t>PARCEIROS</a:t>
          </a:r>
          <a:endParaRPr lang="pt-PT" sz="2000" b="1" kern="1200" dirty="0">
            <a:solidFill>
              <a:schemeClr val="bg1"/>
            </a:solidFill>
            <a:latin typeface="Arial" charset="0"/>
            <a:ea typeface="Geneva" charset="0"/>
            <a:cs typeface="Arial" charset="0"/>
          </a:endParaRPr>
        </a:p>
      </dgm:t>
    </dgm:pt>
    <dgm:pt modelId="{CE8D7880-81D9-4EF0-BC8D-AF04D693E543}" type="parTrans" cxnId="{F691E520-FDEF-4190-A4D3-2DC674C575A7}">
      <dgm:prSet/>
      <dgm:spPr/>
      <dgm:t>
        <a:bodyPr/>
        <a:lstStyle/>
        <a:p>
          <a:endParaRPr lang="pt-PT"/>
        </a:p>
      </dgm:t>
    </dgm:pt>
    <dgm:pt modelId="{2A9A68A8-ACE5-4D8B-8AA9-26BC457776CF}" type="sibTrans" cxnId="{F691E520-FDEF-4190-A4D3-2DC674C575A7}">
      <dgm:prSet/>
      <dgm:spPr/>
      <dgm:t>
        <a:bodyPr/>
        <a:lstStyle/>
        <a:p>
          <a:endParaRPr lang="pt-PT"/>
        </a:p>
      </dgm:t>
    </dgm:pt>
    <dgm:pt modelId="{2A574396-10E2-4A72-A3CF-408743995AC4}">
      <dgm:prSet/>
      <dgm:spPr>
        <a:solidFill>
          <a:srgbClr val="E47823"/>
        </a:solidFill>
      </dgm:spPr>
      <dgm:t>
        <a:bodyPr/>
        <a:lstStyle/>
        <a:p>
          <a:r>
            <a:rPr lang="pt-PT" dirty="0" smtClean="0">
              <a:latin typeface="Arial" pitchFamily="34" charset="0"/>
              <a:cs typeface="Arial" pitchFamily="34" charset="0"/>
            </a:rPr>
            <a:t>SPGM</a:t>
          </a:r>
        </a:p>
      </dgm:t>
    </dgm:pt>
    <dgm:pt modelId="{E3F550C3-BC28-4A65-A2AA-A5755A77295A}" type="parTrans" cxnId="{3AB0CD31-AD06-4B95-AAF4-0CB49BDD3082}">
      <dgm:prSet/>
      <dgm:spPr/>
      <dgm:t>
        <a:bodyPr/>
        <a:lstStyle/>
        <a:p>
          <a:endParaRPr lang="pt-PT"/>
        </a:p>
      </dgm:t>
    </dgm:pt>
    <dgm:pt modelId="{4B1CC420-8578-4BA4-8133-13B4D0BCDC99}" type="sibTrans" cxnId="{3AB0CD31-AD06-4B95-AAF4-0CB49BDD3082}">
      <dgm:prSet/>
      <dgm:spPr/>
      <dgm:t>
        <a:bodyPr/>
        <a:lstStyle/>
        <a:p>
          <a:endParaRPr lang="pt-PT"/>
        </a:p>
      </dgm:t>
    </dgm:pt>
    <dgm:pt modelId="{F540E1D1-17D0-4C34-B6B9-91D7A1266979}">
      <dgm:prSet/>
      <dgm:spPr>
        <a:solidFill>
          <a:srgbClr val="E47823"/>
        </a:solidFill>
      </dgm:spPr>
      <dgm:t>
        <a:bodyPr/>
        <a:lstStyle/>
        <a:p>
          <a:r>
            <a:rPr lang="pt-PT" dirty="0" smtClean="0">
              <a:latin typeface="Arial" pitchFamily="34" charset="0"/>
              <a:cs typeface="Arial" pitchFamily="34" charset="0"/>
            </a:rPr>
            <a:t>Agência de Inovação</a:t>
          </a:r>
        </a:p>
      </dgm:t>
    </dgm:pt>
    <dgm:pt modelId="{5A0FCA72-2515-4FC7-940B-F5507FF84738}" type="parTrans" cxnId="{5907A483-F632-4917-B431-7B779454E5F2}">
      <dgm:prSet/>
      <dgm:spPr/>
      <dgm:t>
        <a:bodyPr/>
        <a:lstStyle/>
        <a:p>
          <a:endParaRPr lang="pt-PT"/>
        </a:p>
      </dgm:t>
    </dgm:pt>
    <dgm:pt modelId="{A3062914-9860-4AE0-9429-0742C4904FEB}" type="sibTrans" cxnId="{5907A483-F632-4917-B431-7B779454E5F2}">
      <dgm:prSet/>
      <dgm:spPr/>
      <dgm:t>
        <a:bodyPr/>
        <a:lstStyle/>
        <a:p>
          <a:endParaRPr lang="pt-PT"/>
        </a:p>
      </dgm:t>
    </dgm:pt>
    <dgm:pt modelId="{B8115C8A-8557-4FE3-82A6-B687E1E04399}">
      <dgm:prSet/>
      <dgm:spPr>
        <a:solidFill>
          <a:srgbClr val="E47823"/>
        </a:solidFill>
      </dgm:spPr>
      <dgm:t>
        <a:bodyPr/>
        <a:lstStyle/>
        <a:p>
          <a:r>
            <a:rPr lang="pt-PT" dirty="0" smtClean="0">
              <a:latin typeface="Arial" pitchFamily="34" charset="0"/>
              <a:cs typeface="Arial" pitchFamily="34" charset="0"/>
            </a:rPr>
            <a:t>Ciência </a:t>
          </a:r>
          <a:r>
            <a:rPr lang="pt-PT" dirty="0" smtClean="0">
              <a:latin typeface="Arial" pitchFamily="34" charset="0"/>
              <a:cs typeface="Arial" pitchFamily="34" charset="0"/>
            </a:rPr>
            <a:t>Viva</a:t>
          </a:r>
          <a:endParaRPr lang="pt-PT" dirty="0" smtClean="0">
            <a:latin typeface="Arial" pitchFamily="34" charset="0"/>
            <a:cs typeface="Arial" pitchFamily="34" charset="0"/>
          </a:endParaRPr>
        </a:p>
      </dgm:t>
    </dgm:pt>
    <dgm:pt modelId="{F8207A18-3A4A-4936-8CB1-A547AF175988}" type="parTrans" cxnId="{6CC20FE9-4E54-44BB-8689-4D6F0C0C7A68}">
      <dgm:prSet/>
      <dgm:spPr/>
      <dgm:t>
        <a:bodyPr/>
        <a:lstStyle/>
        <a:p>
          <a:endParaRPr lang="pt-PT"/>
        </a:p>
      </dgm:t>
    </dgm:pt>
    <dgm:pt modelId="{BCBBC751-3E28-4098-9FE6-CC589960C47A}" type="sibTrans" cxnId="{6CC20FE9-4E54-44BB-8689-4D6F0C0C7A68}">
      <dgm:prSet/>
      <dgm:spPr/>
      <dgm:t>
        <a:bodyPr/>
        <a:lstStyle/>
        <a:p>
          <a:endParaRPr lang="pt-PT"/>
        </a:p>
      </dgm:t>
    </dgm:pt>
    <dgm:pt modelId="{8E2D295A-BFAD-4C3B-A8A1-740B240467D0}">
      <dgm:prSet/>
      <dgm:spPr>
        <a:solidFill>
          <a:srgbClr val="E47823"/>
        </a:solidFill>
      </dgm:spPr>
      <dgm:t>
        <a:bodyPr/>
        <a:lstStyle/>
        <a:p>
          <a:r>
            <a:rPr lang="pt-PT" dirty="0" smtClean="0">
              <a:latin typeface="Arial" pitchFamily="34" charset="0"/>
              <a:cs typeface="Arial" pitchFamily="34" charset="0"/>
            </a:rPr>
            <a:t>FCT</a:t>
          </a:r>
        </a:p>
      </dgm:t>
    </dgm:pt>
    <dgm:pt modelId="{BC81F6CA-69E5-4D96-BF64-98BF2C53D2C8}" type="parTrans" cxnId="{B1E5252F-B0BB-444B-9C18-8087BF62668E}">
      <dgm:prSet/>
      <dgm:spPr/>
      <dgm:t>
        <a:bodyPr/>
        <a:lstStyle/>
        <a:p>
          <a:endParaRPr lang="pt-PT"/>
        </a:p>
      </dgm:t>
    </dgm:pt>
    <dgm:pt modelId="{99E08109-AAAD-48CC-9F23-76E56F051744}" type="sibTrans" cxnId="{B1E5252F-B0BB-444B-9C18-8087BF62668E}">
      <dgm:prSet/>
      <dgm:spPr/>
      <dgm:t>
        <a:bodyPr/>
        <a:lstStyle/>
        <a:p>
          <a:endParaRPr lang="pt-PT"/>
        </a:p>
      </dgm:t>
    </dgm:pt>
    <dgm:pt modelId="{9F5A5ED7-FF36-41AC-99B2-D6C193B07431}">
      <dgm:prSet/>
      <dgm:spPr>
        <a:solidFill>
          <a:srgbClr val="E47823"/>
        </a:solidFill>
      </dgm:spPr>
      <dgm:t>
        <a:bodyPr/>
        <a:lstStyle/>
        <a:p>
          <a:r>
            <a:rPr lang="pt-PT" dirty="0" smtClean="0">
              <a:latin typeface="Arial" pitchFamily="34" charset="0"/>
              <a:cs typeface="Arial" pitchFamily="34" charset="0"/>
            </a:rPr>
            <a:t>IAPMEI</a:t>
          </a:r>
        </a:p>
      </dgm:t>
    </dgm:pt>
    <dgm:pt modelId="{FB827054-6077-4446-9C01-275386907B33}" type="parTrans" cxnId="{B4580FB3-AC5F-4454-9578-DF3DBF33AC57}">
      <dgm:prSet/>
      <dgm:spPr/>
      <dgm:t>
        <a:bodyPr/>
        <a:lstStyle/>
        <a:p>
          <a:endParaRPr lang="pt-PT"/>
        </a:p>
      </dgm:t>
    </dgm:pt>
    <dgm:pt modelId="{2236E844-A8C7-4133-B891-E801A867CEB0}" type="sibTrans" cxnId="{B4580FB3-AC5F-4454-9578-DF3DBF33AC57}">
      <dgm:prSet/>
      <dgm:spPr/>
      <dgm:t>
        <a:bodyPr/>
        <a:lstStyle/>
        <a:p>
          <a:endParaRPr lang="pt-PT"/>
        </a:p>
      </dgm:t>
    </dgm:pt>
    <dgm:pt modelId="{118A8211-7A56-42D6-ADF3-B3EE42F16170}">
      <dgm:prSet/>
      <dgm:spPr>
        <a:solidFill>
          <a:srgbClr val="E47823"/>
        </a:solidFill>
      </dgm:spPr>
      <dgm:t>
        <a:bodyPr/>
        <a:lstStyle/>
        <a:p>
          <a:r>
            <a:rPr lang="pt-PT" dirty="0" smtClean="0">
              <a:latin typeface="Arial" pitchFamily="34" charset="0"/>
              <a:cs typeface="Arial" pitchFamily="34" charset="0"/>
            </a:rPr>
            <a:t>AICEP</a:t>
          </a:r>
        </a:p>
      </dgm:t>
    </dgm:pt>
    <dgm:pt modelId="{0B7D5540-7E13-4D8C-BD8D-0E68C14675D0}" type="parTrans" cxnId="{C426CA53-5220-402D-B87F-4392C5D3090A}">
      <dgm:prSet/>
      <dgm:spPr/>
      <dgm:t>
        <a:bodyPr/>
        <a:lstStyle/>
        <a:p>
          <a:endParaRPr lang="pt-PT"/>
        </a:p>
      </dgm:t>
    </dgm:pt>
    <dgm:pt modelId="{AB699403-EC93-43DE-8F6F-98A2A7B0C1E9}" type="sibTrans" cxnId="{C426CA53-5220-402D-B87F-4392C5D3090A}">
      <dgm:prSet/>
      <dgm:spPr/>
      <dgm:t>
        <a:bodyPr/>
        <a:lstStyle/>
        <a:p>
          <a:endParaRPr lang="pt-PT"/>
        </a:p>
      </dgm:t>
    </dgm:pt>
    <dgm:pt modelId="{6552A699-1799-4472-9F63-808419545FBA}">
      <dgm:prSet/>
      <dgm:spPr>
        <a:solidFill>
          <a:srgbClr val="E47823"/>
        </a:solidFill>
      </dgm:spPr>
      <dgm:t>
        <a:bodyPr/>
        <a:lstStyle/>
        <a:p>
          <a:r>
            <a:rPr lang="pt-PT" dirty="0" smtClean="0">
              <a:latin typeface="Arial" pitchFamily="34" charset="0"/>
              <a:cs typeface="Arial" pitchFamily="34" charset="0"/>
            </a:rPr>
            <a:t>Turismo de Portugal</a:t>
          </a:r>
        </a:p>
      </dgm:t>
    </dgm:pt>
    <dgm:pt modelId="{23DFDBC7-4F99-4017-B959-3FE903278C67}" type="parTrans" cxnId="{77336214-6D20-4153-B2C4-D57A076DCEB0}">
      <dgm:prSet/>
      <dgm:spPr/>
      <dgm:t>
        <a:bodyPr/>
        <a:lstStyle/>
        <a:p>
          <a:endParaRPr lang="pt-PT"/>
        </a:p>
      </dgm:t>
    </dgm:pt>
    <dgm:pt modelId="{7AAE784E-0A92-45EB-8599-512BEDE43BAD}" type="sibTrans" cxnId="{77336214-6D20-4153-B2C4-D57A076DCEB0}">
      <dgm:prSet/>
      <dgm:spPr/>
      <dgm:t>
        <a:bodyPr/>
        <a:lstStyle/>
        <a:p>
          <a:endParaRPr lang="pt-PT"/>
        </a:p>
      </dgm:t>
    </dgm:pt>
    <dgm:pt modelId="{9EC06DBC-F38F-4556-8C21-2B02E6DB36FE}">
      <dgm:prSet/>
      <dgm:spPr>
        <a:solidFill>
          <a:srgbClr val="E47823"/>
        </a:solidFill>
      </dgm:spPr>
      <dgm:t>
        <a:bodyPr/>
        <a:lstStyle/>
        <a:p>
          <a:r>
            <a:rPr lang="pt-PT" dirty="0" smtClean="0">
              <a:latin typeface="Arial" pitchFamily="34" charset="0"/>
              <a:cs typeface="Arial" pitchFamily="34" charset="0"/>
            </a:rPr>
            <a:t>AMA</a:t>
          </a:r>
        </a:p>
      </dgm:t>
    </dgm:pt>
    <dgm:pt modelId="{E8D88A2F-83A5-4204-8A86-43595A826589}" type="parTrans" cxnId="{2D4FB0F0-741E-41D5-A9B5-B8FD0D427469}">
      <dgm:prSet/>
      <dgm:spPr/>
      <dgm:t>
        <a:bodyPr/>
        <a:lstStyle/>
        <a:p>
          <a:endParaRPr lang="pt-PT"/>
        </a:p>
      </dgm:t>
    </dgm:pt>
    <dgm:pt modelId="{EF8C7F27-6D14-4A4A-808E-FA4BFDB39A17}" type="sibTrans" cxnId="{2D4FB0F0-741E-41D5-A9B5-B8FD0D427469}">
      <dgm:prSet/>
      <dgm:spPr/>
      <dgm:t>
        <a:bodyPr/>
        <a:lstStyle/>
        <a:p>
          <a:endParaRPr lang="pt-PT"/>
        </a:p>
      </dgm:t>
    </dgm:pt>
    <dgm:pt modelId="{8B836743-9843-4EFA-9015-FCDA4C8BA0FF}" type="pres">
      <dgm:prSet presAssocID="{E14FBBEF-D893-4C04-87FC-BA9AED97A429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796CDD92-ED02-4765-9FD6-EDFF5A366D3E}" type="pres">
      <dgm:prSet presAssocID="{B0140155-4EF7-42EE-BBE6-B058F5727C79}" presName="root1" presStyleCnt="0"/>
      <dgm:spPr/>
    </dgm:pt>
    <dgm:pt modelId="{16B10253-94DD-4EE1-907A-74D8C494CD43}" type="pres">
      <dgm:prSet presAssocID="{B0140155-4EF7-42EE-BBE6-B058F5727C79}" presName="LevelOneTextNode" presStyleLbl="node0" presStyleIdx="0" presStyleCnt="1" custScaleY="136471" custLinFactNeighborY="-11382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36056A6E-704B-44D4-AA83-C18E5EB84407}" type="pres">
      <dgm:prSet presAssocID="{B0140155-4EF7-42EE-BBE6-B058F5727C79}" presName="level2hierChild" presStyleCnt="0"/>
      <dgm:spPr/>
    </dgm:pt>
    <dgm:pt modelId="{6B5544B4-CAC1-4035-815C-128B4EECBDA9}" type="pres">
      <dgm:prSet presAssocID="{0859D9C3-D577-4526-9789-F13262209745}" presName="conn2-1" presStyleLbl="parChTrans1D2" presStyleIdx="0" presStyleCnt="9"/>
      <dgm:spPr/>
      <dgm:t>
        <a:bodyPr/>
        <a:lstStyle/>
        <a:p>
          <a:endParaRPr lang="pt-PT"/>
        </a:p>
      </dgm:t>
    </dgm:pt>
    <dgm:pt modelId="{02A7B82C-135A-48C2-8240-10DF451C7A98}" type="pres">
      <dgm:prSet presAssocID="{0859D9C3-D577-4526-9789-F13262209745}" presName="connTx" presStyleLbl="parChTrans1D2" presStyleIdx="0" presStyleCnt="9"/>
      <dgm:spPr/>
      <dgm:t>
        <a:bodyPr/>
        <a:lstStyle/>
        <a:p>
          <a:endParaRPr lang="pt-PT"/>
        </a:p>
      </dgm:t>
    </dgm:pt>
    <dgm:pt modelId="{E7B595F0-2F99-47EA-A9EC-8A29BE3E229E}" type="pres">
      <dgm:prSet presAssocID="{4585E753-D177-4E4F-9B06-181B48C7BA83}" presName="root2" presStyleCnt="0"/>
      <dgm:spPr/>
    </dgm:pt>
    <dgm:pt modelId="{0F223507-4537-40D8-A315-6691476C84E5}" type="pres">
      <dgm:prSet presAssocID="{4585E753-D177-4E4F-9B06-181B48C7BA83}" presName="LevelTwoTextNode" presStyleLbl="node2" presStyleIdx="0" presStyleCnt="9" custScaleX="133692" custScaleY="89707" custLinFactNeighborX="122" custLinFactNeighborY="-39747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E4F7972D-F679-475F-8892-F67306DF274E}" type="pres">
      <dgm:prSet presAssocID="{4585E753-D177-4E4F-9B06-181B48C7BA83}" presName="level3hierChild" presStyleCnt="0"/>
      <dgm:spPr/>
    </dgm:pt>
    <dgm:pt modelId="{9F1C0D30-8BF3-4750-A6AF-AB38CF22051D}" type="pres">
      <dgm:prSet presAssocID="{E3F550C3-BC28-4A65-A2AA-A5755A77295A}" presName="conn2-1" presStyleLbl="parChTrans1D2" presStyleIdx="1" presStyleCnt="9"/>
      <dgm:spPr/>
      <dgm:t>
        <a:bodyPr/>
        <a:lstStyle/>
        <a:p>
          <a:endParaRPr lang="pt-PT"/>
        </a:p>
      </dgm:t>
    </dgm:pt>
    <dgm:pt modelId="{F1FCF16B-F22F-4966-98EC-F2C59FFBFF48}" type="pres">
      <dgm:prSet presAssocID="{E3F550C3-BC28-4A65-A2AA-A5755A77295A}" presName="connTx" presStyleLbl="parChTrans1D2" presStyleIdx="1" presStyleCnt="9"/>
      <dgm:spPr/>
      <dgm:t>
        <a:bodyPr/>
        <a:lstStyle/>
        <a:p>
          <a:endParaRPr lang="pt-PT"/>
        </a:p>
      </dgm:t>
    </dgm:pt>
    <dgm:pt modelId="{C22AEDEE-6FFE-4333-AA4C-DEE90BE29F68}" type="pres">
      <dgm:prSet presAssocID="{2A574396-10E2-4A72-A3CF-408743995AC4}" presName="root2" presStyleCnt="0"/>
      <dgm:spPr/>
    </dgm:pt>
    <dgm:pt modelId="{6255C604-1B59-44B4-87D7-7A559655DDC9}" type="pres">
      <dgm:prSet presAssocID="{2A574396-10E2-4A72-A3CF-408743995AC4}" presName="LevelTwoTextNode" presStyleLbl="node2" presStyleIdx="1" presStyleCnt="9" custScaleX="133692" custScaleY="89707" custLinFactNeighborX="122" custLinFactNeighborY="-39747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398DE733-FD33-4EA5-83EE-3D855F7A5B26}" type="pres">
      <dgm:prSet presAssocID="{2A574396-10E2-4A72-A3CF-408743995AC4}" presName="level3hierChild" presStyleCnt="0"/>
      <dgm:spPr/>
    </dgm:pt>
    <dgm:pt modelId="{70B6F356-9CA9-4068-B793-37AE2B315A1C}" type="pres">
      <dgm:prSet presAssocID="{5A0FCA72-2515-4FC7-940B-F5507FF84738}" presName="conn2-1" presStyleLbl="parChTrans1D2" presStyleIdx="2" presStyleCnt="9"/>
      <dgm:spPr/>
      <dgm:t>
        <a:bodyPr/>
        <a:lstStyle/>
        <a:p>
          <a:endParaRPr lang="pt-PT"/>
        </a:p>
      </dgm:t>
    </dgm:pt>
    <dgm:pt modelId="{97FAEDF0-E623-4CC3-8902-D87BE0D4EEBE}" type="pres">
      <dgm:prSet presAssocID="{5A0FCA72-2515-4FC7-940B-F5507FF84738}" presName="connTx" presStyleLbl="parChTrans1D2" presStyleIdx="2" presStyleCnt="9"/>
      <dgm:spPr/>
      <dgm:t>
        <a:bodyPr/>
        <a:lstStyle/>
        <a:p>
          <a:endParaRPr lang="pt-PT"/>
        </a:p>
      </dgm:t>
    </dgm:pt>
    <dgm:pt modelId="{4B6C4187-960E-452C-AEBC-A978D12712A0}" type="pres">
      <dgm:prSet presAssocID="{F540E1D1-17D0-4C34-B6B9-91D7A1266979}" presName="root2" presStyleCnt="0"/>
      <dgm:spPr/>
    </dgm:pt>
    <dgm:pt modelId="{3B9AF2A2-8242-4DA7-A7BB-29EEAA42AD0B}" type="pres">
      <dgm:prSet presAssocID="{F540E1D1-17D0-4C34-B6B9-91D7A1266979}" presName="LevelTwoTextNode" presStyleLbl="node2" presStyleIdx="2" presStyleCnt="9" custScaleX="133692" custScaleY="89707" custLinFactNeighborX="122" custLinFactNeighborY="-39747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5CD78C9E-2603-43B0-A4E1-7FA6CD5E3EB2}" type="pres">
      <dgm:prSet presAssocID="{F540E1D1-17D0-4C34-B6B9-91D7A1266979}" presName="level3hierChild" presStyleCnt="0"/>
      <dgm:spPr/>
    </dgm:pt>
    <dgm:pt modelId="{717AB8F0-E4CA-40C7-84A8-E9D475E3E458}" type="pres">
      <dgm:prSet presAssocID="{F8207A18-3A4A-4936-8CB1-A547AF175988}" presName="conn2-1" presStyleLbl="parChTrans1D2" presStyleIdx="3" presStyleCnt="9"/>
      <dgm:spPr/>
      <dgm:t>
        <a:bodyPr/>
        <a:lstStyle/>
        <a:p>
          <a:endParaRPr lang="pt-PT"/>
        </a:p>
      </dgm:t>
    </dgm:pt>
    <dgm:pt modelId="{BB85108B-E162-42DB-BF56-B082FD6291F8}" type="pres">
      <dgm:prSet presAssocID="{F8207A18-3A4A-4936-8CB1-A547AF175988}" presName="connTx" presStyleLbl="parChTrans1D2" presStyleIdx="3" presStyleCnt="9"/>
      <dgm:spPr/>
      <dgm:t>
        <a:bodyPr/>
        <a:lstStyle/>
        <a:p>
          <a:endParaRPr lang="pt-PT"/>
        </a:p>
      </dgm:t>
    </dgm:pt>
    <dgm:pt modelId="{EB4FDC55-8F9B-477C-B9B4-AA9BB2349047}" type="pres">
      <dgm:prSet presAssocID="{B8115C8A-8557-4FE3-82A6-B687E1E04399}" presName="root2" presStyleCnt="0"/>
      <dgm:spPr/>
    </dgm:pt>
    <dgm:pt modelId="{02BEE6C2-FB92-4555-A75C-C5A36C3A178A}" type="pres">
      <dgm:prSet presAssocID="{B8115C8A-8557-4FE3-82A6-B687E1E04399}" presName="LevelTwoTextNode" presStyleLbl="node2" presStyleIdx="3" presStyleCnt="9" custScaleX="133692" custScaleY="89707" custLinFactNeighborX="122" custLinFactNeighborY="-39747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117F60A4-5A96-46CE-B452-7E806345A61B}" type="pres">
      <dgm:prSet presAssocID="{B8115C8A-8557-4FE3-82A6-B687E1E04399}" presName="level3hierChild" presStyleCnt="0"/>
      <dgm:spPr/>
    </dgm:pt>
    <dgm:pt modelId="{CF141201-0B9B-4B37-8F90-3700D0142D98}" type="pres">
      <dgm:prSet presAssocID="{BC81F6CA-69E5-4D96-BF64-98BF2C53D2C8}" presName="conn2-1" presStyleLbl="parChTrans1D2" presStyleIdx="4" presStyleCnt="9"/>
      <dgm:spPr/>
      <dgm:t>
        <a:bodyPr/>
        <a:lstStyle/>
        <a:p>
          <a:endParaRPr lang="pt-PT"/>
        </a:p>
      </dgm:t>
    </dgm:pt>
    <dgm:pt modelId="{CF3DB45D-44BD-43C3-AF1F-364E34351C34}" type="pres">
      <dgm:prSet presAssocID="{BC81F6CA-69E5-4D96-BF64-98BF2C53D2C8}" presName="connTx" presStyleLbl="parChTrans1D2" presStyleIdx="4" presStyleCnt="9"/>
      <dgm:spPr/>
      <dgm:t>
        <a:bodyPr/>
        <a:lstStyle/>
        <a:p>
          <a:endParaRPr lang="pt-PT"/>
        </a:p>
      </dgm:t>
    </dgm:pt>
    <dgm:pt modelId="{ED4BA0DE-46B8-4887-899A-37EC68355F45}" type="pres">
      <dgm:prSet presAssocID="{8E2D295A-BFAD-4C3B-A8A1-740B240467D0}" presName="root2" presStyleCnt="0"/>
      <dgm:spPr/>
    </dgm:pt>
    <dgm:pt modelId="{C161363D-722E-4313-9F42-A777A54ADD52}" type="pres">
      <dgm:prSet presAssocID="{8E2D295A-BFAD-4C3B-A8A1-740B240467D0}" presName="LevelTwoTextNode" presStyleLbl="node2" presStyleIdx="4" presStyleCnt="9" custScaleX="133692" custScaleY="89707" custLinFactNeighborX="122" custLinFactNeighborY="-39747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C0D8C348-FD23-47F1-9C39-42FE311E717F}" type="pres">
      <dgm:prSet presAssocID="{8E2D295A-BFAD-4C3B-A8A1-740B240467D0}" presName="level3hierChild" presStyleCnt="0"/>
      <dgm:spPr/>
    </dgm:pt>
    <dgm:pt modelId="{8A71634B-3640-471B-B4A6-330A1255EEE0}" type="pres">
      <dgm:prSet presAssocID="{FB827054-6077-4446-9C01-275386907B33}" presName="conn2-1" presStyleLbl="parChTrans1D2" presStyleIdx="5" presStyleCnt="9"/>
      <dgm:spPr/>
      <dgm:t>
        <a:bodyPr/>
        <a:lstStyle/>
        <a:p>
          <a:endParaRPr lang="pt-PT"/>
        </a:p>
      </dgm:t>
    </dgm:pt>
    <dgm:pt modelId="{ABDD631A-4023-4192-97C4-93A94B4649C8}" type="pres">
      <dgm:prSet presAssocID="{FB827054-6077-4446-9C01-275386907B33}" presName="connTx" presStyleLbl="parChTrans1D2" presStyleIdx="5" presStyleCnt="9"/>
      <dgm:spPr/>
      <dgm:t>
        <a:bodyPr/>
        <a:lstStyle/>
        <a:p>
          <a:endParaRPr lang="pt-PT"/>
        </a:p>
      </dgm:t>
    </dgm:pt>
    <dgm:pt modelId="{888A0456-FDD0-4EB2-B842-841FB6462A61}" type="pres">
      <dgm:prSet presAssocID="{9F5A5ED7-FF36-41AC-99B2-D6C193B07431}" presName="root2" presStyleCnt="0"/>
      <dgm:spPr/>
    </dgm:pt>
    <dgm:pt modelId="{7EAC28A4-0D11-4CE2-A8A5-DF86E698BD6E}" type="pres">
      <dgm:prSet presAssocID="{9F5A5ED7-FF36-41AC-99B2-D6C193B07431}" presName="LevelTwoTextNode" presStyleLbl="node2" presStyleIdx="5" presStyleCnt="9" custScaleX="133692" custScaleY="89707" custLinFactNeighborX="122" custLinFactNeighborY="-39747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520477A0-0F34-41DE-A762-0105659AEBF8}" type="pres">
      <dgm:prSet presAssocID="{9F5A5ED7-FF36-41AC-99B2-D6C193B07431}" presName="level3hierChild" presStyleCnt="0"/>
      <dgm:spPr/>
    </dgm:pt>
    <dgm:pt modelId="{B7CF5B38-000B-4C2F-AFD7-F307BF9B3F5C}" type="pres">
      <dgm:prSet presAssocID="{0B7D5540-7E13-4D8C-BD8D-0E68C14675D0}" presName="conn2-1" presStyleLbl="parChTrans1D2" presStyleIdx="6" presStyleCnt="9"/>
      <dgm:spPr/>
      <dgm:t>
        <a:bodyPr/>
        <a:lstStyle/>
        <a:p>
          <a:endParaRPr lang="pt-PT"/>
        </a:p>
      </dgm:t>
    </dgm:pt>
    <dgm:pt modelId="{C053F371-8333-4B3A-A93D-72AFFC758D34}" type="pres">
      <dgm:prSet presAssocID="{0B7D5540-7E13-4D8C-BD8D-0E68C14675D0}" presName="connTx" presStyleLbl="parChTrans1D2" presStyleIdx="6" presStyleCnt="9"/>
      <dgm:spPr/>
      <dgm:t>
        <a:bodyPr/>
        <a:lstStyle/>
        <a:p>
          <a:endParaRPr lang="pt-PT"/>
        </a:p>
      </dgm:t>
    </dgm:pt>
    <dgm:pt modelId="{237A683D-48E8-4F04-BE5C-2C28C80C8D7D}" type="pres">
      <dgm:prSet presAssocID="{118A8211-7A56-42D6-ADF3-B3EE42F16170}" presName="root2" presStyleCnt="0"/>
      <dgm:spPr/>
    </dgm:pt>
    <dgm:pt modelId="{49F981A8-5ADA-438E-A416-803384FCD6E6}" type="pres">
      <dgm:prSet presAssocID="{118A8211-7A56-42D6-ADF3-B3EE42F16170}" presName="LevelTwoTextNode" presStyleLbl="node2" presStyleIdx="6" presStyleCnt="9" custScaleX="133692" custScaleY="89707" custLinFactNeighborX="122" custLinFactNeighborY="-39747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187FC0A4-06F5-463D-9D03-6CCB9AC264F2}" type="pres">
      <dgm:prSet presAssocID="{118A8211-7A56-42D6-ADF3-B3EE42F16170}" presName="level3hierChild" presStyleCnt="0"/>
      <dgm:spPr/>
    </dgm:pt>
    <dgm:pt modelId="{A45CBD81-C95A-45CB-AD71-C58E401BA638}" type="pres">
      <dgm:prSet presAssocID="{23DFDBC7-4F99-4017-B959-3FE903278C67}" presName="conn2-1" presStyleLbl="parChTrans1D2" presStyleIdx="7" presStyleCnt="9"/>
      <dgm:spPr/>
      <dgm:t>
        <a:bodyPr/>
        <a:lstStyle/>
        <a:p>
          <a:endParaRPr lang="pt-PT"/>
        </a:p>
      </dgm:t>
    </dgm:pt>
    <dgm:pt modelId="{395F215B-2511-4C3D-95A0-F61683853F1A}" type="pres">
      <dgm:prSet presAssocID="{23DFDBC7-4F99-4017-B959-3FE903278C67}" presName="connTx" presStyleLbl="parChTrans1D2" presStyleIdx="7" presStyleCnt="9"/>
      <dgm:spPr/>
      <dgm:t>
        <a:bodyPr/>
        <a:lstStyle/>
        <a:p>
          <a:endParaRPr lang="pt-PT"/>
        </a:p>
      </dgm:t>
    </dgm:pt>
    <dgm:pt modelId="{84C002CD-B1A6-42FE-BC40-335F8EADF08C}" type="pres">
      <dgm:prSet presAssocID="{6552A699-1799-4472-9F63-808419545FBA}" presName="root2" presStyleCnt="0"/>
      <dgm:spPr/>
    </dgm:pt>
    <dgm:pt modelId="{B66B1C4E-11AB-4D23-A5A5-187F592C5682}" type="pres">
      <dgm:prSet presAssocID="{6552A699-1799-4472-9F63-808419545FBA}" presName="LevelTwoTextNode" presStyleLbl="node2" presStyleIdx="7" presStyleCnt="9" custScaleX="133692" custScaleY="89707" custLinFactNeighborX="122" custLinFactNeighborY="-39747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6A85FF00-0680-4E18-A608-40A3FF53F5BB}" type="pres">
      <dgm:prSet presAssocID="{6552A699-1799-4472-9F63-808419545FBA}" presName="level3hierChild" presStyleCnt="0"/>
      <dgm:spPr/>
    </dgm:pt>
    <dgm:pt modelId="{E2E9DF23-FBF6-4656-8E99-E5A4A4F7D796}" type="pres">
      <dgm:prSet presAssocID="{E8D88A2F-83A5-4204-8A86-43595A826589}" presName="conn2-1" presStyleLbl="parChTrans1D2" presStyleIdx="8" presStyleCnt="9"/>
      <dgm:spPr/>
      <dgm:t>
        <a:bodyPr/>
        <a:lstStyle/>
        <a:p>
          <a:endParaRPr lang="pt-PT"/>
        </a:p>
      </dgm:t>
    </dgm:pt>
    <dgm:pt modelId="{24D68B55-B16A-472C-AEE4-DDF55B35EEB7}" type="pres">
      <dgm:prSet presAssocID="{E8D88A2F-83A5-4204-8A86-43595A826589}" presName="connTx" presStyleLbl="parChTrans1D2" presStyleIdx="8" presStyleCnt="9"/>
      <dgm:spPr/>
      <dgm:t>
        <a:bodyPr/>
        <a:lstStyle/>
        <a:p>
          <a:endParaRPr lang="pt-PT"/>
        </a:p>
      </dgm:t>
    </dgm:pt>
    <dgm:pt modelId="{80DD1C69-5808-4B9A-9B8A-84A9A4AAE791}" type="pres">
      <dgm:prSet presAssocID="{9EC06DBC-F38F-4556-8C21-2B02E6DB36FE}" presName="root2" presStyleCnt="0"/>
      <dgm:spPr/>
    </dgm:pt>
    <dgm:pt modelId="{5BCC769B-2C7D-452F-A4A0-9BBB559273AD}" type="pres">
      <dgm:prSet presAssocID="{9EC06DBC-F38F-4556-8C21-2B02E6DB36FE}" presName="LevelTwoTextNode" presStyleLbl="node2" presStyleIdx="8" presStyleCnt="9" custScaleX="133692" custScaleY="89707" custLinFactNeighborX="122" custLinFactNeighborY="-39747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B564FC5B-446B-4F1A-8DAC-609967C38A63}" type="pres">
      <dgm:prSet presAssocID="{9EC06DBC-F38F-4556-8C21-2B02E6DB36FE}" presName="level3hierChild" presStyleCnt="0"/>
      <dgm:spPr/>
    </dgm:pt>
  </dgm:ptLst>
  <dgm:cxnLst>
    <dgm:cxn modelId="{4FBAE6A2-5403-433B-BEE7-D1EF971BD826}" type="presOf" srcId="{BC81F6CA-69E5-4D96-BF64-98BF2C53D2C8}" destId="{CF141201-0B9B-4B37-8F90-3700D0142D98}" srcOrd="0" destOrd="0" presId="urn:microsoft.com/office/officeart/2008/layout/HorizontalMultiLevelHierarchy"/>
    <dgm:cxn modelId="{77336214-6D20-4153-B2C4-D57A076DCEB0}" srcId="{B0140155-4EF7-42EE-BBE6-B058F5727C79}" destId="{6552A699-1799-4472-9F63-808419545FBA}" srcOrd="7" destOrd="0" parTransId="{23DFDBC7-4F99-4017-B959-3FE903278C67}" sibTransId="{7AAE784E-0A92-45EB-8599-512BEDE43BAD}"/>
    <dgm:cxn modelId="{B7A62C3E-7445-415C-97AE-E8038ECA4876}" type="presOf" srcId="{8E2D295A-BFAD-4C3B-A8A1-740B240467D0}" destId="{C161363D-722E-4313-9F42-A777A54ADD52}" srcOrd="0" destOrd="0" presId="urn:microsoft.com/office/officeart/2008/layout/HorizontalMultiLevelHierarchy"/>
    <dgm:cxn modelId="{83DEDAF0-21F7-477E-BA89-E60618EBD1FE}" type="presOf" srcId="{B8115C8A-8557-4FE3-82A6-B687E1E04399}" destId="{02BEE6C2-FB92-4555-A75C-C5A36C3A178A}" srcOrd="0" destOrd="0" presId="urn:microsoft.com/office/officeart/2008/layout/HorizontalMultiLevelHierarchy"/>
    <dgm:cxn modelId="{3AB0CD31-AD06-4B95-AAF4-0CB49BDD3082}" srcId="{B0140155-4EF7-42EE-BBE6-B058F5727C79}" destId="{2A574396-10E2-4A72-A3CF-408743995AC4}" srcOrd="1" destOrd="0" parTransId="{E3F550C3-BC28-4A65-A2AA-A5755A77295A}" sibTransId="{4B1CC420-8578-4BA4-8133-13B4D0BCDC99}"/>
    <dgm:cxn modelId="{131F5A35-0B77-4F38-93FA-CFACB6D87CFD}" type="presOf" srcId="{2A574396-10E2-4A72-A3CF-408743995AC4}" destId="{6255C604-1B59-44B4-87D7-7A559655DDC9}" srcOrd="0" destOrd="0" presId="urn:microsoft.com/office/officeart/2008/layout/HorizontalMultiLevelHierarchy"/>
    <dgm:cxn modelId="{5E5A99A9-6B62-443D-AB6C-6C86EE880461}" type="presOf" srcId="{F8207A18-3A4A-4936-8CB1-A547AF175988}" destId="{717AB8F0-E4CA-40C7-84A8-E9D475E3E458}" srcOrd="0" destOrd="0" presId="urn:microsoft.com/office/officeart/2008/layout/HorizontalMultiLevelHierarchy"/>
    <dgm:cxn modelId="{A6CD6EA3-394D-4BA6-9978-078267004AAA}" type="presOf" srcId="{9EC06DBC-F38F-4556-8C21-2B02E6DB36FE}" destId="{5BCC769B-2C7D-452F-A4A0-9BBB559273AD}" srcOrd="0" destOrd="0" presId="urn:microsoft.com/office/officeart/2008/layout/HorizontalMultiLevelHierarchy"/>
    <dgm:cxn modelId="{6D62D558-AC65-4022-8057-CF53C1EA10D7}" type="presOf" srcId="{E3F550C3-BC28-4A65-A2AA-A5755A77295A}" destId="{9F1C0D30-8BF3-4750-A6AF-AB38CF22051D}" srcOrd="0" destOrd="0" presId="urn:microsoft.com/office/officeart/2008/layout/HorizontalMultiLevelHierarchy"/>
    <dgm:cxn modelId="{FFF9687F-5ABC-4DE1-A8A1-15895EE587FE}" type="presOf" srcId="{5A0FCA72-2515-4FC7-940B-F5507FF84738}" destId="{97FAEDF0-E623-4CC3-8902-D87BE0D4EEBE}" srcOrd="1" destOrd="0" presId="urn:microsoft.com/office/officeart/2008/layout/HorizontalMultiLevelHierarchy"/>
    <dgm:cxn modelId="{35205DD3-BC8A-4351-9524-FB011F27BDD7}" type="presOf" srcId="{E8D88A2F-83A5-4204-8A86-43595A826589}" destId="{24D68B55-B16A-472C-AEE4-DDF55B35EEB7}" srcOrd="1" destOrd="0" presId="urn:microsoft.com/office/officeart/2008/layout/HorizontalMultiLevelHierarchy"/>
    <dgm:cxn modelId="{D7771ACA-1D5E-4CA9-B921-9C1CDD40EE13}" type="presOf" srcId="{FB827054-6077-4446-9C01-275386907B33}" destId="{ABDD631A-4023-4192-97C4-93A94B4649C8}" srcOrd="1" destOrd="0" presId="urn:microsoft.com/office/officeart/2008/layout/HorizontalMultiLevelHierarchy"/>
    <dgm:cxn modelId="{B1E5252F-B0BB-444B-9C18-8087BF62668E}" srcId="{B0140155-4EF7-42EE-BBE6-B058F5727C79}" destId="{8E2D295A-BFAD-4C3B-A8A1-740B240467D0}" srcOrd="4" destOrd="0" parTransId="{BC81F6CA-69E5-4D96-BF64-98BF2C53D2C8}" sibTransId="{99E08109-AAAD-48CC-9F23-76E56F051744}"/>
    <dgm:cxn modelId="{4FC3F026-C88A-4171-ACA0-EBAE1512FBDE}" type="presOf" srcId="{9F5A5ED7-FF36-41AC-99B2-D6C193B07431}" destId="{7EAC28A4-0D11-4CE2-A8A5-DF86E698BD6E}" srcOrd="0" destOrd="0" presId="urn:microsoft.com/office/officeart/2008/layout/HorizontalMultiLevelHierarchy"/>
    <dgm:cxn modelId="{2D4FB0F0-741E-41D5-A9B5-B8FD0D427469}" srcId="{B0140155-4EF7-42EE-BBE6-B058F5727C79}" destId="{9EC06DBC-F38F-4556-8C21-2B02E6DB36FE}" srcOrd="8" destOrd="0" parTransId="{E8D88A2F-83A5-4204-8A86-43595A826589}" sibTransId="{EF8C7F27-6D14-4A4A-808E-FA4BFDB39A17}"/>
    <dgm:cxn modelId="{33239825-B479-4B3F-978D-D511C14D50F4}" type="presOf" srcId="{F540E1D1-17D0-4C34-B6B9-91D7A1266979}" destId="{3B9AF2A2-8242-4DA7-A7BB-29EEAA42AD0B}" srcOrd="0" destOrd="0" presId="urn:microsoft.com/office/officeart/2008/layout/HorizontalMultiLevelHierarchy"/>
    <dgm:cxn modelId="{B4580FB3-AC5F-4454-9578-DF3DBF33AC57}" srcId="{B0140155-4EF7-42EE-BBE6-B058F5727C79}" destId="{9F5A5ED7-FF36-41AC-99B2-D6C193B07431}" srcOrd="5" destOrd="0" parTransId="{FB827054-6077-4446-9C01-275386907B33}" sibTransId="{2236E844-A8C7-4133-B891-E801A867CEB0}"/>
    <dgm:cxn modelId="{75E9FAA1-2F8A-4AE5-B33A-FB15FC3034A3}" type="presOf" srcId="{23DFDBC7-4F99-4017-B959-3FE903278C67}" destId="{395F215B-2511-4C3D-95A0-F61683853F1A}" srcOrd="1" destOrd="0" presId="urn:microsoft.com/office/officeart/2008/layout/HorizontalMultiLevelHierarchy"/>
    <dgm:cxn modelId="{098FAD07-0472-4230-8B5E-7BEB0E181992}" srcId="{B0140155-4EF7-42EE-BBE6-B058F5727C79}" destId="{4585E753-D177-4E4F-9B06-181B48C7BA83}" srcOrd="0" destOrd="0" parTransId="{0859D9C3-D577-4526-9789-F13262209745}" sibTransId="{38CF8666-F6FE-485A-98E8-B3229386D4B1}"/>
    <dgm:cxn modelId="{84FC53AC-B05B-4BD5-9CE9-DD7CEE7876D1}" type="presOf" srcId="{BC81F6CA-69E5-4D96-BF64-98BF2C53D2C8}" destId="{CF3DB45D-44BD-43C3-AF1F-364E34351C34}" srcOrd="1" destOrd="0" presId="urn:microsoft.com/office/officeart/2008/layout/HorizontalMultiLevelHierarchy"/>
    <dgm:cxn modelId="{6CC20FE9-4E54-44BB-8689-4D6F0C0C7A68}" srcId="{B0140155-4EF7-42EE-BBE6-B058F5727C79}" destId="{B8115C8A-8557-4FE3-82A6-B687E1E04399}" srcOrd="3" destOrd="0" parTransId="{F8207A18-3A4A-4936-8CB1-A547AF175988}" sibTransId="{BCBBC751-3E28-4098-9FE6-CC589960C47A}"/>
    <dgm:cxn modelId="{77EFAFD4-3DEA-4480-BE3B-EA16EB475B9D}" type="presOf" srcId="{118A8211-7A56-42D6-ADF3-B3EE42F16170}" destId="{49F981A8-5ADA-438E-A416-803384FCD6E6}" srcOrd="0" destOrd="0" presId="urn:microsoft.com/office/officeart/2008/layout/HorizontalMultiLevelHierarchy"/>
    <dgm:cxn modelId="{0AB06549-2AD7-4406-B000-C41F77C734AF}" type="presOf" srcId="{4585E753-D177-4E4F-9B06-181B48C7BA83}" destId="{0F223507-4537-40D8-A315-6691476C84E5}" srcOrd="0" destOrd="0" presId="urn:microsoft.com/office/officeart/2008/layout/HorizontalMultiLevelHierarchy"/>
    <dgm:cxn modelId="{4D53F4B0-B898-44BD-90C7-6E281E37995A}" type="presOf" srcId="{E3F550C3-BC28-4A65-A2AA-A5755A77295A}" destId="{F1FCF16B-F22F-4966-98EC-F2C59FFBFF48}" srcOrd="1" destOrd="0" presId="urn:microsoft.com/office/officeart/2008/layout/HorizontalMultiLevelHierarchy"/>
    <dgm:cxn modelId="{8989FD5E-D48F-4BC9-809D-8D02EAF269D2}" type="presOf" srcId="{E14FBBEF-D893-4C04-87FC-BA9AED97A429}" destId="{8B836743-9843-4EFA-9015-FCDA4C8BA0FF}" srcOrd="0" destOrd="0" presId="urn:microsoft.com/office/officeart/2008/layout/HorizontalMultiLevelHierarchy"/>
    <dgm:cxn modelId="{EF1F12CF-4C96-4DA8-9B46-2AA20F26EF26}" type="presOf" srcId="{FB827054-6077-4446-9C01-275386907B33}" destId="{8A71634B-3640-471B-B4A6-330A1255EEE0}" srcOrd="0" destOrd="0" presId="urn:microsoft.com/office/officeart/2008/layout/HorizontalMultiLevelHierarchy"/>
    <dgm:cxn modelId="{F691E520-FDEF-4190-A4D3-2DC674C575A7}" srcId="{E14FBBEF-D893-4C04-87FC-BA9AED97A429}" destId="{B0140155-4EF7-42EE-BBE6-B058F5727C79}" srcOrd="0" destOrd="0" parTransId="{CE8D7880-81D9-4EF0-BC8D-AF04D693E543}" sibTransId="{2A9A68A8-ACE5-4D8B-8AA9-26BC457776CF}"/>
    <dgm:cxn modelId="{7EB855A6-D8CC-4ECB-9CCB-5A7F1D19FD9F}" type="presOf" srcId="{0859D9C3-D577-4526-9789-F13262209745}" destId="{02A7B82C-135A-48C2-8240-10DF451C7A98}" srcOrd="1" destOrd="0" presId="urn:microsoft.com/office/officeart/2008/layout/HorizontalMultiLevelHierarchy"/>
    <dgm:cxn modelId="{28AB2E77-26EE-493C-838F-D29D75FD28B3}" type="presOf" srcId="{0859D9C3-D577-4526-9789-F13262209745}" destId="{6B5544B4-CAC1-4035-815C-128B4EECBDA9}" srcOrd="0" destOrd="0" presId="urn:microsoft.com/office/officeart/2008/layout/HorizontalMultiLevelHierarchy"/>
    <dgm:cxn modelId="{C25CC94A-C431-4CE2-9E98-C4C2EA645E14}" type="presOf" srcId="{0B7D5540-7E13-4D8C-BD8D-0E68C14675D0}" destId="{B7CF5B38-000B-4C2F-AFD7-F307BF9B3F5C}" srcOrd="0" destOrd="0" presId="urn:microsoft.com/office/officeart/2008/layout/HorizontalMultiLevelHierarchy"/>
    <dgm:cxn modelId="{269A631F-1DB0-4980-BD10-75B9A58F185F}" type="presOf" srcId="{5A0FCA72-2515-4FC7-940B-F5507FF84738}" destId="{70B6F356-9CA9-4068-B793-37AE2B315A1C}" srcOrd="0" destOrd="0" presId="urn:microsoft.com/office/officeart/2008/layout/HorizontalMultiLevelHierarchy"/>
    <dgm:cxn modelId="{04C25CA5-CFCF-4044-8590-BAF217CCD8DE}" type="presOf" srcId="{B0140155-4EF7-42EE-BBE6-B058F5727C79}" destId="{16B10253-94DD-4EE1-907A-74D8C494CD43}" srcOrd="0" destOrd="0" presId="urn:microsoft.com/office/officeart/2008/layout/HorizontalMultiLevelHierarchy"/>
    <dgm:cxn modelId="{6F769044-AF6F-4E87-9502-85337386574F}" type="presOf" srcId="{F8207A18-3A4A-4936-8CB1-A547AF175988}" destId="{BB85108B-E162-42DB-BF56-B082FD6291F8}" srcOrd="1" destOrd="0" presId="urn:microsoft.com/office/officeart/2008/layout/HorizontalMultiLevelHierarchy"/>
    <dgm:cxn modelId="{7F71C445-73ED-40EF-8CFE-77CFD30EF591}" type="presOf" srcId="{6552A699-1799-4472-9F63-808419545FBA}" destId="{B66B1C4E-11AB-4D23-A5A5-187F592C5682}" srcOrd="0" destOrd="0" presId="urn:microsoft.com/office/officeart/2008/layout/HorizontalMultiLevelHierarchy"/>
    <dgm:cxn modelId="{C426CA53-5220-402D-B87F-4392C5D3090A}" srcId="{B0140155-4EF7-42EE-BBE6-B058F5727C79}" destId="{118A8211-7A56-42D6-ADF3-B3EE42F16170}" srcOrd="6" destOrd="0" parTransId="{0B7D5540-7E13-4D8C-BD8D-0E68C14675D0}" sibTransId="{AB699403-EC93-43DE-8F6F-98A2A7B0C1E9}"/>
    <dgm:cxn modelId="{E283AE97-784C-4F1E-B40D-570798D54E6E}" type="presOf" srcId="{0B7D5540-7E13-4D8C-BD8D-0E68C14675D0}" destId="{C053F371-8333-4B3A-A93D-72AFFC758D34}" srcOrd="1" destOrd="0" presId="urn:microsoft.com/office/officeart/2008/layout/HorizontalMultiLevelHierarchy"/>
    <dgm:cxn modelId="{BE5A7DC0-422A-4272-ACC3-003487AF4B19}" type="presOf" srcId="{23DFDBC7-4F99-4017-B959-3FE903278C67}" destId="{A45CBD81-C95A-45CB-AD71-C58E401BA638}" srcOrd="0" destOrd="0" presId="urn:microsoft.com/office/officeart/2008/layout/HorizontalMultiLevelHierarchy"/>
    <dgm:cxn modelId="{5907A483-F632-4917-B431-7B779454E5F2}" srcId="{B0140155-4EF7-42EE-BBE6-B058F5727C79}" destId="{F540E1D1-17D0-4C34-B6B9-91D7A1266979}" srcOrd="2" destOrd="0" parTransId="{5A0FCA72-2515-4FC7-940B-F5507FF84738}" sibTransId="{A3062914-9860-4AE0-9429-0742C4904FEB}"/>
    <dgm:cxn modelId="{ACFFCFBE-0B7C-48ED-AFDD-580B53E944EA}" type="presOf" srcId="{E8D88A2F-83A5-4204-8A86-43595A826589}" destId="{E2E9DF23-FBF6-4656-8E99-E5A4A4F7D796}" srcOrd="0" destOrd="0" presId="urn:microsoft.com/office/officeart/2008/layout/HorizontalMultiLevelHierarchy"/>
    <dgm:cxn modelId="{8464E48D-C576-4A4C-BCD4-E89A7EBC9E6D}" type="presParOf" srcId="{8B836743-9843-4EFA-9015-FCDA4C8BA0FF}" destId="{796CDD92-ED02-4765-9FD6-EDFF5A366D3E}" srcOrd="0" destOrd="0" presId="urn:microsoft.com/office/officeart/2008/layout/HorizontalMultiLevelHierarchy"/>
    <dgm:cxn modelId="{995D2616-D93F-44E9-9340-0269C65039C5}" type="presParOf" srcId="{796CDD92-ED02-4765-9FD6-EDFF5A366D3E}" destId="{16B10253-94DD-4EE1-907A-74D8C494CD43}" srcOrd="0" destOrd="0" presId="urn:microsoft.com/office/officeart/2008/layout/HorizontalMultiLevelHierarchy"/>
    <dgm:cxn modelId="{53D5D62A-71AC-4769-B92D-A22428C65F94}" type="presParOf" srcId="{796CDD92-ED02-4765-9FD6-EDFF5A366D3E}" destId="{36056A6E-704B-44D4-AA83-C18E5EB84407}" srcOrd="1" destOrd="0" presId="urn:microsoft.com/office/officeart/2008/layout/HorizontalMultiLevelHierarchy"/>
    <dgm:cxn modelId="{0506E832-9894-4BE4-8F29-69F5568C8328}" type="presParOf" srcId="{36056A6E-704B-44D4-AA83-C18E5EB84407}" destId="{6B5544B4-CAC1-4035-815C-128B4EECBDA9}" srcOrd="0" destOrd="0" presId="urn:microsoft.com/office/officeart/2008/layout/HorizontalMultiLevelHierarchy"/>
    <dgm:cxn modelId="{07951C35-4F39-495F-813F-3F1B1BA7E179}" type="presParOf" srcId="{6B5544B4-CAC1-4035-815C-128B4EECBDA9}" destId="{02A7B82C-135A-48C2-8240-10DF451C7A98}" srcOrd="0" destOrd="0" presId="urn:microsoft.com/office/officeart/2008/layout/HorizontalMultiLevelHierarchy"/>
    <dgm:cxn modelId="{6DF8E50E-D925-4015-B34B-4EF1BEC72A0B}" type="presParOf" srcId="{36056A6E-704B-44D4-AA83-C18E5EB84407}" destId="{E7B595F0-2F99-47EA-A9EC-8A29BE3E229E}" srcOrd="1" destOrd="0" presId="urn:microsoft.com/office/officeart/2008/layout/HorizontalMultiLevelHierarchy"/>
    <dgm:cxn modelId="{4ABBA387-373E-4668-BDEE-6098FCAB622E}" type="presParOf" srcId="{E7B595F0-2F99-47EA-A9EC-8A29BE3E229E}" destId="{0F223507-4537-40D8-A315-6691476C84E5}" srcOrd="0" destOrd="0" presId="urn:microsoft.com/office/officeart/2008/layout/HorizontalMultiLevelHierarchy"/>
    <dgm:cxn modelId="{706859C1-B057-42AB-ADDE-7E0EA479285C}" type="presParOf" srcId="{E7B595F0-2F99-47EA-A9EC-8A29BE3E229E}" destId="{E4F7972D-F679-475F-8892-F67306DF274E}" srcOrd="1" destOrd="0" presId="urn:microsoft.com/office/officeart/2008/layout/HorizontalMultiLevelHierarchy"/>
    <dgm:cxn modelId="{9209E2E4-7531-4462-BA8C-D53715C4055C}" type="presParOf" srcId="{36056A6E-704B-44D4-AA83-C18E5EB84407}" destId="{9F1C0D30-8BF3-4750-A6AF-AB38CF22051D}" srcOrd="2" destOrd="0" presId="urn:microsoft.com/office/officeart/2008/layout/HorizontalMultiLevelHierarchy"/>
    <dgm:cxn modelId="{FC5E2832-AC0B-461C-B87F-CCC8A5DB31E1}" type="presParOf" srcId="{9F1C0D30-8BF3-4750-A6AF-AB38CF22051D}" destId="{F1FCF16B-F22F-4966-98EC-F2C59FFBFF48}" srcOrd="0" destOrd="0" presId="urn:microsoft.com/office/officeart/2008/layout/HorizontalMultiLevelHierarchy"/>
    <dgm:cxn modelId="{A7CC093D-A467-4BA3-B1AE-2BAAC8659725}" type="presParOf" srcId="{36056A6E-704B-44D4-AA83-C18E5EB84407}" destId="{C22AEDEE-6FFE-4333-AA4C-DEE90BE29F68}" srcOrd="3" destOrd="0" presId="urn:microsoft.com/office/officeart/2008/layout/HorizontalMultiLevelHierarchy"/>
    <dgm:cxn modelId="{C56BBD37-CA0A-4E9F-939B-5E873A9F454F}" type="presParOf" srcId="{C22AEDEE-6FFE-4333-AA4C-DEE90BE29F68}" destId="{6255C604-1B59-44B4-87D7-7A559655DDC9}" srcOrd="0" destOrd="0" presId="urn:microsoft.com/office/officeart/2008/layout/HorizontalMultiLevelHierarchy"/>
    <dgm:cxn modelId="{D8ABD7EC-70E4-41E2-B88C-D3B7B741051B}" type="presParOf" srcId="{C22AEDEE-6FFE-4333-AA4C-DEE90BE29F68}" destId="{398DE733-FD33-4EA5-83EE-3D855F7A5B26}" srcOrd="1" destOrd="0" presId="urn:microsoft.com/office/officeart/2008/layout/HorizontalMultiLevelHierarchy"/>
    <dgm:cxn modelId="{AB6A4DCD-6AC9-41BA-BAAB-FA68E17A8D1C}" type="presParOf" srcId="{36056A6E-704B-44D4-AA83-C18E5EB84407}" destId="{70B6F356-9CA9-4068-B793-37AE2B315A1C}" srcOrd="4" destOrd="0" presId="urn:microsoft.com/office/officeart/2008/layout/HorizontalMultiLevelHierarchy"/>
    <dgm:cxn modelId="{5CDEC7ED-8E12-43B2-9C6F-02D30D5471AC}" type="presParOf" srcId="{70B6F356-9CA9-4068-B793-37AE2B315A1C}" destId="{97FAEDF0-E623-4CC3-8902-D87BE0D4EEBE}" srcOrd="0" destOrd="0" presId="urn:microsoft.com/office/officeart/2008/layout/HorizontalMultiLevelHierarchy"/>
    <dgm:cxn modelId="{6A5B8FC2-097E-470D-A937-CEAF37EFFA5E}" type="presParOf" srcId="{36056A6E-704B-44D4-AA83-C18E5EB84407}" destId="{4B6C4187-960E-452C-AEBC-A978D12712A0}" srcOrd="5" destOrd="0" presId="urn:microsoft.com/office/officeart/2008/layout/HorizontalMultiLevelHierarchy"/>
    <dgm:cxn modelId="{F08641A9-7060-473A-861E-60356B27305B}" type="presParOf" srcId="{4B6C4187-960E-452C-AEBC-A978D12712A0}" destId="{3B9AF2A2-8242-4DA7-A7BB-29EEAA42AD0B}" srcOrd="0" destOrd="0" presId="urn:microsoft.com/office/officeart/2008/layout/HorizontalMultiLevelHierarchy"/>
    <dgm:cxn modelId="{B3D47E45-6A44-445E-A329-06698943A092}" type="presParOf" srcId="{4B6C4187-960E-452C-AEBC-A978D12712A0}" destId="{5CD78C9E-2603-43B0-A4E1-7FA6CD5E3EB2}" srcOrd="1" destOrd="0" presId="urn:microsoft.com/office/officeart/2008/layout/HorizontalMultiLevelHierarchy"/>
    <dgm:cxn modelId="{DD7098FD-1232-45D0-85F3-9ED83B49C3EC}" type="presParOf" srcId="{36056A6E-704B-44D4-AA83-C18E5EB84407}" destId="{717AB8F0-E4CA-40C7-84A8-E9D475E3E458}" srcOrd="6" destOrd="0" presId="urn:microsoft.com/office/officeart/2008/layout/HorizontalMultiLevelHierarchy"/>
    <dgm:cxn modelId="{58627351-899C-4C30-8E9B-6E14869EF640}" type="presParOf" srcId="{717AB8F0-E4CA-40C7-84A8-E9D475E3E458}" destId="{BB85108B-E162-42DB-BF56-B082FD6291F8}" srcOrd="0" destOrd="0" presId="urn:microsoft.com/office/officeart/2008/layout/HorizontalMultiLevelHierarchy"/>
    <dgm:cxn modelId="{7638DC74-D000-4A73-BBC5-F9FDD59965A4}" type="presParOf" srcId="{36056A6E-704B-44D4-AA83-C18E5EB84407}" destId="{EB4FDC55-8F9B-477C-B9B4-AA9BB2349047}" srcOrd="7" destOrd="0" presId="urn:microsoft.com/office/officeart/2008/layout/HorizontalMultiLevelHierarchy"/>
    <dgm:cxn modelId="{59006C8B-FE4B-4D11-97DC-3F7537159F2F}" type="presParOf" srcId="{EB4FDC55-8F9B-477C-B9B4-AA9BB2349047}" destId="{02BEE6C2-FB92-4555-A75C-C5A36C3A178A}" srcOrd="0" destOrd="0" presId="urn:microsoft.com/office/officeart/2008/layout/HorizontalMultiLevelHierarchy"/>
    <dgm:cxn modelId="{8220D42D-2287-4E15-B270-E7260514428B}" type="presParOf" srcId="{EB4FDC55-8F9B-477C-B9B4-AA9BB2349047}" destId="{117F60A4-5A96-46CE-B452-7E806345A61B}" srcOrd="1" destOrd="0" presId="urn:microsoft.com/office/officeart/2008/layout/HorizontalMultiLevelHierarchy"/>
    <dgm:cxn modelId="{2276CB32-5708-427A-9907-9CF29319FB54}" type="presParOf" srcId="{36056A6E-704B-44D4-AA83-C18E5EB84407}" destId="{CF141201-0B9B-4B37-8F90-3700D0142D98}" srcOrd="8" destOrd="0" presId="urn:microsoft.com/office/officeart/2008/layout/HorizontalMultiLevelHierarchy"/>
    <dgm:cxn modelId="{6BF1A1CA-8B41-4338-A891-84A105CF5272}" type="presParOf" srcId="{CF141201-0B9B-4B37-8F90-3700D0142D98}" destId="{CF3DB45D-44BD-43C3-AF1F-364E34351C34}" srcOrd="0" destOrd="0" presId="urn:microsoft.com/office/officeart/2008/layout/HorizontalMultiLevelHierarchy"/>
    <dgm:cxn modelId="{D673739B-B825-4289-ABEC-CC56CA16CA67}" type="presParOf" srcId="{36056A6E-704B-44D4-AA83-C18E5EB84407}" destId="{ED4BA0DE-46B8-4887-899A-37EC68355F45}" srcOrd="9" destOrd="0" presId="urn:microsoft.com/office/officeart/2008/layout/HorizontalMultiLevelHierarchy"/>
    <dgm:cxn modelId="{5AD4319E-D0C9-4F29-81E0-81013FA07328}" type="presParOf" srcId="{ED4BA0DE-46B8-4887-899A-37EC68355F45}" destId="{C161363D-722E-4313-9F42-A777A54ADD52}" srcOrd="0" destOrd="0" presId="urn:microsoft.com/office/officeart/2008/layout/HorizontalMultiLevelHierarchy"/>
    <dgm:cxn modelId="{123E40D6-1FAF-4DA3-8B87-8F2DF773116E}" type="presParOf" srcId="{ED4BA0DE-46B8-4887-899A-37EC68355F45}" destId="{C0D8C348-FD23-47F1-9C39-42FE311E717F}" srcOrd="1" destOrd="0" presId="urn:microsoft.com/office/officeart/2008/layout/HorizontalMultiLevelHierarchy"/>
    <dgm:cxn modelId="{5E522002-5C21-4BF6-B234-585176D499E6}" type="presParOf" srcId="{36056A6E-704B-44D4-AA83-C18E5EB84407}" destId="{8A71634B-3640-471B-B4A6-330A1255EEE0}" srcOrd="10" destOrd="0" presId="urn:microsoft.com/office/officeart/2008/layout/HorizontalMultiLevelHierarchy"/>
    <dgm:cxn modelId="{0B471326-41E3-40D7-BD27-2EB61821DF54}" type="presParOf" srcId="{8A71634B-3640-471B-B4A6-330A1255EEE0}" destId="{ABDD631A-4023-4192-97C4-93A94B4649C8}" srcOrd="0" destOrd="0" presId="urn:microsoft.com/office/officeart/2008/layout/HorizontalMultiLevelHierarchy"/>
    <dgm:cxn modelId="{81E55E87-0EC0-4D04-ABCD-525DC1B5AB54}" type="presParOf" srcId="{36056A6E-704B-44D4-AA83-C18E5EB84407}" destId="{888A0456-FDD0-4EB2-B842-841FB6462A61}" srcOrd="11" destOrd="0" presId="urn:microsoft.com/office/officeart/2008/layout/HorizontalMultiLevelHierarchy"/>
    <dgm:cxn modelId="{AD0388EC-18FC-469B-B42F-CABAEE8DFBAF}" type="presParOf" srcId="{888A0456-FDD0-4EB2-B842-841FB6462A61}" destId="{7EAC28A4-0D11-4CE2-A8A5-DF86E698BD6E}" srcOrd="0" destOrd="0" presId="urn:microsoft.com/office/officeart/2008/layout/HorizontalMultiLevelHierarchy"/>
    <dgm:cxn modelId="{D0228F5A-5D6F-4196-A679-AD459C2DA022}" type="presParOf" srcId="{888A0456-FDD0-4EB2-B842-841FB6462A61}" destId="{520477A0-0F34-41DE-A762-0105659AEBF8}" srcOrd="1" destOrd="0" presId="urn:microsoft.com/office/officeart/2008/layout/HorizontalMultiLevelHierarchy"/>
    <dgm:cxn modelId="{3B12D767-125B-459F-8CEE-FCFDDA9FC9AD}" type="presParOf" srcId="{36056A6E-704B-44D4-AA83-C18E5EB84407}" destId="{B7CF5B38-000B-4C2F-AFD7-F307BF9B3F5C}" srcOrd="12" destOrd="0" presId="urn:microsoft.com/office/officeart/2008/layout/HorizontalMultiLevelHierarchy"/>
    <dgm:cxn modelId="{A67FF4E9-0DD9-4F6A-90B3-F3F7D7C6B85B}" type="presParOf" srcId="{B7CF5B38-000B-4C2F-AFD7-F307BF9B3F5C}" destId="{C053F371-8333-4B3A-A93D-72AFFC758D34}" srcOrd="0" destOrd="0" presId="urn:microsoft.com/office/officeart/2008/layout/HorizontalMultiLevelHierarchy"/>
    <dgm:cxn modelId="{974FE297-6316-4305-A7B5-DA4FC39E500A}" type="presParOf" srcId="{36056A6E-704B-44D4-AA83-C18E5EB84407}" destId="{237A683D-48E8-4F04-BE5C-2C28C80C8D7D}" srcOrd="13" destOrd="0" presId="urn:microsoft.com/office/officeart/2008/layout/HorizontalMultiLevelHierarchy"/>
    <dgm:cxn modelId="{72787F1D-2FDA-4A87-9960-C59ADBF5A6FC}" type="presParOf" srcId="{237A683D-48E8-4F04-BE5C-2C28C80C8D7D}" destId="{49F981A8-5ADA-438E-A416-803384FCD6E6}" srcOrd="0" destOrd="0" presId="urn:microsoft.com/office/officeart/2008/layout/HorizontalMultiLevelHierarchy"/>
    <dgm:cxn modelId="{CF49C051-F1AD-4E7A-890C-54DE57DFC831}" type="presParOf" srcId="{237A683D-48E8-4F04-BE5C-2C28C80C8D7D}" destId="{187FC0A4-06F5-463D-9D03-6CCB9AC264F2}" srcOrd="1" destOrd="0" presId="urn:microsoft.com/office/officeart/2008/layout/HorizontalMultiLevelHierarchy"/>
    <dgm:cxn modelId="{5BE1BBA2-0EFA-4C9F-BA2C-725122E441C0}" type="presParOf" srcId="{36056A6E-704B-44D4-AA83-C18E5EB84407}" destId="{A45CBD81-C95A-45CB-AD71-C58E401BA638}" srcOrd="14" destOrd="0" presId="urn:microsoft.com/office/officeart/2008/layout/HorizontalMultiLevelHierarchy"/>
    <dgm:cxn modelId="{5D98FE5A-5C97-45A6-9E86-8A186D173226}" type="presParOf" srcId="{A45CBD81-C95A-45CB-AD71-C58E401BA638}" destId="{395F215B-2511-4C3D-95A0-F61683853F1A}" srcOrd="0" destOrd="0" presId="urn:microsoft.com/office/officeart/2008/layout/HorizontalMultiLevelHierarchy"/>
    <dgm:cxn modelId="{A18D9D63-4E6C-4A36-B6A8-C33162089E02}" type="presParOf" srcId="{36056A6E-704B-44D4-AA83-C18E5EB84407}" destId="{84C002CD-B1A6-42FE-BC40-335F8EADF08C}" srcOrd="15" destOrd="0" presId="urn:microsoft.com/office/officeart/2008/layout/HorizontalMultiLevelHierarchy"/>
    <dgm:cxn modelId="{42089713-2BCD-445C-B853-04060D8D5286}" type="presParOf" srcId="{84C002CD-B1A6-42FE-BC40-335F8EADF08C}" destId="{B66B1C4E-11AB-4D23-A5A5-187F592C5682}" srcOrd="0" destOrd="0" presId="urn:microsoft.com/office/officeart/2008/layout/HorizontalMultiLevelHierarchy"/>
    <dgm:cxn modelId="{75EC5BA9-2D05-4346-BA22-FA2C3B9EF03E}" type="presParOf" srcId="{84C002CD-B1A6-42FE-BC40-335F8EADF08C}" destId="{6A85FF00-0680-4E18-A608-40A3FF53F5BB}" srcOrd="1" destOrd="0" presId="urn:microsoft.com/office/officeart/2008/layout/HorizontalMultiLevelHierarchy"/>
    <dgm:cxn modelId="{5D2B0461-57F4-429A-B7A3-1DDF7CF4F4AA}" type="presParOf" srcId="{36056A6E-704B-44D4-AA83-C18E5EB84407}" destId="{E2E9DF23-FBF6-4656-8E99-E5A4A4F7D796}" srcOrd="16" destOrd="0" presId="urn:microsoft.com/office/officeart/2008/layout/HorizontalMultiLevelHierarchy"/>
    <dgm:cxn modelId="{BA16072F-2F7B-4A41-AA50-E312D0DCFEDE}" type="presParOf" srcId="{E2E9DF23-FBF6-4656-8E99-E5A4A4F7D796}" destId="{24D68B55-B16A-472C-AEE4-DDF55B35EEB7}" srcOrd="0" destOrd="0" presId="urn:microsoft.com/office/officeart/2008/layout/HorizontalMultiLevelHierarchy"/>
    <dgm:cxn modelId="{5062CD02-EA73-4726-8937-290DBBE051EE}" type="presParOf" srcId="{36056A6E-704B-44D4-AA83-C18E5EB84407}" destId="{80DD1C69-5808-4B9A-9B8A-84A9A4AAE791}" srcOrd="17" destOrd="0" presId="urn:microsoft.com/office/officeart/2008/layout/HorizontalMultiLevelHierarchy"/>
    <dgm:cxn modelId="{09EB247F-50D8-4035-92EA-9DBBA531E2D2}" type="presParOf" srcId="{80DD1C69-5808-4B9A-9B8A-84A9A4AAE791}" destId="{5BCC769B-2C7D-452F-A4A0-9BBB559273AD}" srcOrd="0" destOrd="0" presId="urn:microsoft.com/office/officeart/2008/layout/HorizontalMultiLevelHierarchy"/>
    <dgm:cxn modelId="{A7F0948D-FB16-4732-A439-77BBC591FF6D}" type="presParOf" srcId="{80DD1C69-5808-4B9A-9B8A-84A9A4AAE791}" destId="{B564FC5B-446B-4F1A-8DAC-609967C38A63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150E30F-CBE9-2447-A59F-A27E5030B907}" type="doc">
      <dgm:prSet loTypeId="urn:microsoft.com/office/officeart/2005/8/layout/vList6" loCatId="" qsTypeId="urn:microsoft.com/office/officeart/2005/8/quickstyle/simple5" qsCatId="simple" csTypeId="urn:microsoft.com/office/officeart/2005/8/colors/accent1_2#1" csCatId="accent1" phldr="1"/>
      <dgm:spPr/>
      <dgm:t>
        <a:bodyPr/>
        <a:lstStyle/>
        <a:p>
          <a:endParaRPr lang="en-US"/>
        </a:p>
      </dgm:t>
    </dgm:pt>
    <dgm:pt modelId="{E74B37F3-290F-7F4D-86DC-EB7E2387E1DC}">
      <dgm:prSet phldrT="[Text]" custT="1"/>
      <dgm:spPr>
        <a:solidFill>
          <a:srgbClr val="388D2B"/>
        </a:solidFill>
      </dgm:spPr>
      <dgm:t>
        <a:bodyPr/>
        <a:lstStyle/>
        <a:p>
          <a:r>
            <a:rPr lang="en-US" sz="2000" dirty="0" smtClean="0">
              <a:latin typeface="Arial"/>
              <a:cs typeface="Arial"/>
            </a:rPr>
            <a:t>I&amp;D Individual</a:t>
          </a:r>
          <a:endParaRPr lang="en-US" sz="2000" dirty="0">
            <a:latin typeface="Arial"/>
            <a:cs typeface="Arial"/>
          </a:endParaRPr>
        </a:p>
      </dgm:t>
    </dgm:pt>
    <dgm:pt modelId="{ACE703C7-0DC8-1347-B522-B71D5012A80D}" type="parTrans" cxnId="{58D02B3D-02AA-2B46-B7BD-4F68740686C0}">
      <dgm:prSet/>
      <dgm:spPr/>
      <dgm:t>
        <a:bodyPr/>
        <a:lstStyle/>
        <a:p>
          <a:endParaRPr lang="en-US"/>
        </a:p>
      </dgm:t>
    </dgm:pt>
    <dgm:pt modelId="{0AEC3DCC-57F9-2C48-907B-165704CCFCC8}" type="sibTrans" cxnId="{58D02B3D-02AA-2B46-B7BD-4F68740686C0}">
      <dgm:prSet/>
      <dgm:spPr/>
      <dgm:t>
        <a:bodyPr/>
        <a:lstStyle/>
        <a:p>
          <a:endParaRPr lang="en-US"/>
        </a:p>
      </dgm:t>
    </dgm:pt>
    <dgm:pt modelId="{3360C733-CFA6-FE4B-B3E0-C993DEB79410}">
      <dgm:prSet phldrT="[Text]" custT="1"/>
      <dgm:spPr>
        <a:solidFill>
          <a:schemeClr val="bg1">
            <a:alpha val="90000"/>
          </a:schemeClr>
        </a:solidFill>
      </dgm:spPr>
      <dgm:t>
        <a:bodyPr anchor="ctr" anchorCtr="0"/>
        <a:lstStyle/>
        <a:p>
          <a:pPr marL="360000" algn="l">
            <a:lnSpc>
              <a:spcPts val="3000"/>
            </a:lnSpc>
          </a:pPr>
          <a:r>
            <a:rPr lang="en-US" sz="2000" b="1" dirty="0" smtClean="0">
              <a:solidFill>
                <a:schemeClr val="tx1"/>
              </a:solidFill>
              <a:latin typeface="Arial"/>
              <a:cs typeface="Arial"/>
            </a:rPr>
            <a:t>SI I&amp;DT Projetos Individuais</a:t>
          </a:r>
          <a:endParaRPr lang="en-US" sz="2000" b="1" dirty="0">
            <a:solidFill>
              <a:schemeClr val="tx1"/>
            </a:solidFill>
            <a:latin typeface="Arial"/>
            <a:cs typeface="Arial"/>
          </a:endParaRPr>
        </a:p>
      </dgm:t>
    </dgm:pt>
    <dgm:pt modelId="{BB43A413-FD98-584C-A6B9-4FCCE68E3056}" type="parTrans" cxnId="{12717D7E-245F-D645-B0DC-6443EFA65CB5}">
      <dgm:prSet/>
      <dgm:spPr/>
      <dgm:t>
        <a:bodyPr/>
        <a:lstStyle/>
        <a:p>
          <a:endParaRPr lang="en-US"/>
        </a:p>
      </dgm:t>
    </dgm:pt>
    <dgm:pt modelId="{3FED3384-AB8D-AA41-8165-431819CEE5F2}" type="sibTrans" cxnId="{12717D7E-245F-D645-B0DC-6443EFA65CB5}">
      <dgm:prSet/>
      <dgm:spPr/>
      <dgm:t>
        <a:bodyPr/>
        <a:lstStyle/>
        <a:p>
          <a:endParaRPr lang="en-US"/>
        </a:p>
      </dgm:t>
    </dgm:pt>
    <dgm:pt modelId="{22CBC921-3177-C942-ACA2-1758C5255038}">
      <dgm:prSet phldrT="[Text]" custT="1"/>
      <dgm:spPr>
        <a:solidFill>
          <a:srgbClr val="388D2B"/>
        </a:solidFill>
      </dgm:spPr>
      <dgm:t>
        <a:bodyPr/>
        <a:lstStyle/>
        <a:p>
          <a:r>
            <a:rPr lang="en-US" sz="2000" dirty="0" smtClean="0">
              <a:latin typeface="Arial"/>
              <a:cs typeface="Arial"/>
            </a:rPr>
            <a:t>I&amp;D em REDE</a:t>
          </a:r>
          <a:endParaRPr lang="en-US" sz="2000" dirty="0">
            <a:latin typeface="Arial"/>
            <a:cs typeface="Arial"/>
          </a:endParaRPr>
        </a:p>
      </dgm:t>
    </dgm:pt>
    <dgm:pt modelId="{86BC7CAA-C724-CC4A-A8D4-41AF71AB78C8}" type="parTrans" cxnId="{BEF8CB24-D939-AB4F-97E0-1102C60DF3A1}">
      <dgm:prSet/>
      <dgm:spPr/>
      <dgm:t>
        <a:bodyPr/>
        <a:lstStyle/>
        <a:p>
          <a:endParaRPr lang="en-US"/>
        </a:p>
      </dgm:t>
    </dgm:pt>
    <dgm:pt modelId="{11F64AAE-BBE5-F74A-9C08-DB58FAA02590}" type="sibTrans" cxnId="{BEF8CB24-D939-AB4F-97E0-1102C60DF3A1}">
      <dgm:prSet/>
      <dgm:spPr/>
      <dgm:t>
        <a:bodyPr/>
        <a:lstStyle/>
        <a:p>
          <a:endParaRPr lang="en-US"/>
        </a:p>
      </dgm:t>
    </dgm:pt>
    <dgm:pt modelId="{F319E99D-1558-1645-94F1-FEC382B4588C}">
      <dgm:prSet phldrT="[Text]" custT="1"/>
      <dgm:spPr>
        <a:solidFill>
          <a:schemeClr val="bg1">
            <a:alpha val="90000"/>
          </a:schemeClr>
        </a:solidFill>
      </dgm:spPr>
      <dgm:t>
        <a:bodyPr anchor="ctr" anchorCtr="0"/>
        <a:lstStyle/>
        <a:p>
          <a:pPr marL="352800">
            <a:lnSpc>
              <a:spcPct val="100000"/>
            </a:lnSpc>
            <a:spcBef>
              <a:spcPts val="0"/>
            </a:spcBef>
          </a:pPr>
          <a:r>
            <a:rPr lang="en-US" sz="2000" b="1" dirty="0" smtClean="0">
              <a:latin typeface="Arial"/>
              <a:cs typeface="Arial"/>
            </a:rPr>
            <a:t>SI I&amp;DT Projetos em Co-Promoção</a:t>
          </a:r>
          <a:endParaRPr lang="en-US" sz="2000" b="1" dirty="0">
            <a:latin typeface="Arial"/>
            <a:cs typeface="Arial"/>
          </a:endParaRPr>
        </a:p>
      </dgm:t>
    </dgm:pt>
    <dgm:pt modelId="{67CE68A7-042D-5A40-91EC-9B1BE5099110}" type="parTrans" cxnId="{ED6E0DB9-74AA-4B4B-8D06-6D6AD2331ACE}">
      <dgm:prSet/>
      <dgm:spPr/>
      <dgm:t>
        <a:bodyPr/>
        <a:lstStyle/>
        <a:p>
          <a:endParaRPr lang="en-US"/>
        </a:p>
      </dgm:t>
    </dgm:pt>
    <dgm:pt modelId="{89FDB774-2674-924F-B215-29EB0A69CBC1}" type="sibTrans" cxnId="{ED6E0DB9-74AA-4B4B-8D06-6D6AD2331ACE}">
      <dgm:prSet/>
      <dgm:spPr/>
      <dgm:t>
        <a:bodyPr/>
        <a:lstStyle/>
        <a:p>
          <a:endParaRPr lang="en-US"/>
        </a:p>
      </dgm:t>
    </dgm:pt>
    <dgm:pt modelId="{C9FACD9B-0A8B-DD49-B521-AF7B37376220}">
      <dgm:prSet phldrT="[Text]" custT="1"/>
      <dgm:spPr>
        <a:solidFill>
          <a:schemeClr val="bg1">
            <a:alpha val="90000"/>
          </a:schemeClr>
        </a:solidFill>
      </dgm:spPr>
      <dgm:t>
        <a:bodyPr anchor="ctr" anchorCtr="0"/>
        <a:lstStyle/>
        <a:p>
          <a:pPr marL="352800">
            <a:lnSpc>
              <a:spcPct val="100000"/>
            </a:lnSpc>
            <a:spcBef>
              <a:spcPts val="0"/>
            </a:spcBef>
          </a:pPr>
          <a:r>
            <a:rPr lang="en-US" sz="2000" b="1" dirty="0" smtClean="0">
              <a:latin typeface="Arial"/>
              <a:cs typeface="Arial"/>
            </a:rPr>
            <a:t>SI I&amp;DT Projetos Mobilizadores</a:t>
          </a:r>
          <a:endParaRPr lang="en-US" sz="2000" b="1" dirty="0">
            <a:latin typeface="Arial"/>
            <a:cs typeface="Arial"/>
          </a:endParaRPr>
        </a:p>
      </dgm:t>
    </dgm:pt>
    <dgm:pt modelId="{EAEA9DC6-F791-974A-9B8F-2AFA27892A7C}" type="parTrans" cxnId="{52A2748D-8157-4248-8741-71126DCD6ED3}">
      <dgm:prSet/>
      <dgm:spPr/>
      <dgm:t>
        <a:bodyPr/>
        <a:lstStyle/>
        <a:p>
          <a:endParaRPr lang="en-US"/>
        </a:p>
      </dgm:t>
    </dgm:pt>
    <dgm:pt modelId="{67E2BBC2-A79D-6041-97D0-4DE9541C65D6}" type="sibTrans" cxnId="{52A2748D-8157-4248-8741-71126DCD6ED3}">
      <dgm:prSet/>
      <dgm:spPr/>
      <dgm:t>
        <a:bodyPr/>
        <a:lstStyle/>
        <a:p>
          <a:endParaRPr lang="en-US"/>
        </a:p>
      </dgm:t>
    </dgm:pt>
    <dgm:pt modelId="{706C2955-A676-264F-A8C4-EB2BE91E8427}">
      <dgm:prSet phldrT="[Text]" custT="1"/>
      <dgm:spPr>
        <a:solidFill>
          <a:schemeClr val="bg1">
            <a:alpha val="90000"/>
          </a:schemeClr>
        </a:solidFill>
      </dgm:spPr>
      <dgm:t>
        <a:bodyPr anchor="ctr" anchorCtr="0"/>
        <a:lstStyle/>
        <a:p>
          <a:pPr marL="360000" algn="l">
            <a:lnSpc>
              <a:spcPts val="3000"/>
            </a:lnSpc>
          </a:pPr>
          <a:r>
            <a:rPr lang="en-US" sz="2000" b="1" dirty="0" smtClean="0">
              <a:solidFill>
                <a:schemeClr val="tx1"/>
              </a:solidFill>
              <a:latin typeface="Arial"/>
              <a:cs typeface="Arial"/>
            </a:rPr>
            <a:t>SI I&amp;DT Núcleos I&amp;D</a:t>
          </a:r>
          <a:endParaRPr lang="en-US" sz="2000" b="1" dirty="0">
            <a:solidFill>
              <a:schemeClr val="tx1"/>
            </a:solidFill>
            <a:latin typeface="Arial"/>
            <a:cs typeface="Arial"/>
          </a:endParaRPr>
        </a:p>
      </dgm:t>
    </dgm:pt>
    <dgm:pt modelId="{4FA271A0-E4D5-9A43-8CB8-3D8D1B4C7BE3}" type="parTrans" cxnId="{CA22CF34-8E52-B948-A5CC-9162D5066CB2}">
      <dgm:prSet/>
      <dgm:spPr/>
      <dgm:t>
        <a:bodyPr/>
        <a:lstStyle/>
        <a:p>
          <a:endParaRPr lang="en-US"/>
        </a:p>
      </dgm:t>
    </dgm:pt>
    <dgm:pt modelId="{EB716F18-8B30-9548-81D5-FBC4E257FFC5}" type="sibTrans" cxnId="{CA22CF34-8E52-B948-A5CC-9162D5066CB2}">
      <dgm:prSet/>
      <dgm:spPr/>
      <dgm:t>
        <a:bodyPr/>
        <a:lstStyle/>
        <a:p>
          <a:endParaRPr lang="en-US"/>
        </a:p>
      </dgm:t>
    </dgm:pt>
    <dgm:pt modelId="{7821D1B8-A1E5-3C4B-B697-CDE4C2314DBD}">
      <dgm:prSet phldrT="[Text]" custT="1"/>
      <dgm:spPr>
        <a:solidFill>
          <a:schemeClr val="bg1">
            <a:alpha val="90000"/>
          </a:schemeClr>
        </a:solidFill>
      </dgm:spPr>
      <dgm:t>
        <a:bodyPr anchor="ctr" anchorCtr="0"/>
        <a:lstStyle/>
        <a:p>
          <a:pPr marL="360000" algn="l">
            <a:lnSpc>
              <a:spcPts val="3000"/>
            </a:lnSpc>
          </a:pPr>
          <a:r>
            <a:rPr lang="en-US" sz="2000" b="1" dirty="0" smtClean="0">
              <a:solidFill>
                <a:schemeClr val="tx1"/>
              </a:solidFill>
              <a:latin typeface="Arial"/>
              <a:cs typeface="Arial"/>
            </a:rPr>
            <a:t>Vale Inovação/I&amp;DT</a:t>
          </a:r>
          <a:endParaRPr lang="en-US" sz="2000" b="1" dirty="0">
            <a:solidFill>
              <a:schemeClr val="tx1"/>
            </a:solidFill>
            <a:latin typeface="Arial"/>
            <a:cs typeface="Arial"/>
          </a:endParaRPr>
        </a:p>
      </dgm:t>
    </dgm:pt>
    <dgm:pt modelId="{8F8AB4B9-9982-744A-AC03-0C1B0B7023C7}" type="parTrans" cxnId="{E9B4DD6C-083E-534E-AC69-11A2F549CBBD}">
      <dgm:prSet/>
      <dgm:spPr/>
      <dgm:t>
        <a:bodyPr/>
        <a:lstStyle/>
        <a:p>
          <a:endParaRPr lang="en-US"/>
        </a:p>
      </dgm:t>
    </dgm:pt>
    <dgm:pt modelId="{28B8BA68-2CB2-5348-9AEF-22FED69E5B8C}" type="sibTrans" cxnId="{E9B4DD6C-083E-534E-AC69-11A2F549CBBD}">
      <dgm:prSet/>
      <dgm:spPr/>
      <dgm:t>
        <a:bodyPr/>
        <a:lstStyle/>
        <a:p>
          <a:endParaRPr lang="en-US"/>
        </a:p>
      </dgm:t>
    </dgm:pt>
    <dgm:pt modelId="{186C8EC7-10F1-0E43-A066-986E5A7AC0A6}">
      <dgm:prSet phldrT="[Text]" custT="1"/>
      <dgm:spPr>
        <a:solidFill>
          <a:schemeClr val="bg1">
            <a:alpha val="90000"/>
          </a:schemeClr>
        </a:solidFill>
      </dgm:spPr>
      <dgm:t>
        <a:bodyPr anchor="ctr" anchorCtr="0"/>
        <a:lstStyle/>
        <a:p>
          <a:pPr marL="352800">
            <a:lnSpc>
              <a:spcPct val="100000"/>
            </a:lnSpc>
            <a:spcBef>
              <a:spcPts val="0"/>
            </a:spcBef>
          </a:pPr>
          <a:endParaRPr lang="en-US" sz="1000" b="1" dirty="0">
            <a:latin typeface="Arial"/>
            <a:cs typeface="Arial"/>
          </a:endParaRPr>
        </a:p>
      </dgm:t>
    </dgm:pt>
    <dgm:pt modelId="{A2A7DB36-2D74-2641-9482-633EE4B56B84}" type="parTrans" cxnId="{B2CF2469-CD1A-DB4A-865F-C9340F9EE748}">
      <dgm:prSet/>
      <dgm:spPr/>
      <dgm:t>
        <a:bodyPr/>
        <a:lstStyle/>
        <a:p>
          <a:endParaRPr lang="en-US"/>
        </a:p>
      </dgm:t>
    </dgm:pt>
    <dgm:pt modelId="{0DA84C85-FE45-C741-8229-BAABD88CCD27}" type="sibTrans" cxnId="{B2CF2469-CD1A-DB4A-865F-C9340F9EE748}">
      <dgm:prSet/>
      <dgm:spPr/>
      <dgm:t>
        <a:bodyPr/>
        <a:lstStyle/>
        <a:p>
          <a:endParaRPr lang="en-US"/>
        </a:p>
      </dgm:t>
    </dgm:pt>
    <dgm:pt modelId="{71FB8307-676A-2C40-8509-689418F2AF9B}" type="pres">
      <dgm:prSet presAssocID="{1150E30F-CBE9-2447-A59F-A27E5030B907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pt-PT"/>
        </a:p>
      </dgm:t>
    </dgm:pt>
    <dgm:pt modelId="{96184A2A-4171-0442-9BF6-BF80E28EAEAC}" type="pres">
      <dgm:prSet presAssocID="{E74B37F3-290F-7F4D-86DC-EB7E2387E1DC}" presName="linNode" presStyleCnt="0"/>
      <dgm:spPr/>
    </dgm:pt>
    <dgm:pt modelId="{A898D999-A8A0-4A44-87FB-4479EAD2AEE9}" type="pres">
      <dgm:prSet presAssocID="{E74B37F3-290F-7F4D-86DC-EB7E2387E1DC}" presName="parentShp" presStyleLbl="node1" presStyleIdx="0" presStyleCnt="2" custScaleX="69955" custScaleY="37657" custLinFactNeighborX="-667" custLinFactNeighborY="-78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28AFB0C-43D1-EC4A-8054-651C134F31A1}" type="pres">
      <dgm:prSet presAssocID="{E74B37F3-290F-7F4D-86DC-EB7E2387E1DC}" presName="childShp" presStyleLbl="bgAccFollowNode1" presStyleIdx="0" presStyleCnt="2" custScaleX="113685" custScaleY="31710" custLinFactNeighborX="3598" custLinFactNeighborY="-782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US"/>
        </a:p>
      </dgm:t>
    </dgm:pt>
    <dgm:pt modelId="{D68A59DA-C8FC-4C48-9E51-5E02BA34F16A}" type="pres">
      <dgm:prSet presAssocID="{0AEC3DCC-57F9-2C48-907B-165704CCFCC8}" presName="spacing" presStyleCnt="0"/>
      <dgm:spPr/>
    </dgm:pt>
    <dgm:pt modelId="{97334A84-20EA-6F4E-9CAC-73FFD8CD80AD}" type="pres">
      <dgm:prSet presAssocID="{22CBC921-3177-C942-ACA2-1758C5255038}" presName="linNode" presStyleCnt="0"/>
      <dgm:spPr/>
    </dgm:pt>
    <dgm:pt modelId="{6AAC80AE-A69B-1F43-8746-F71D4120E1AA}" type="pres">
      <dgm:prSet presAssocID="{22CBC921-3177-C942-ACA2-1758C5255038}" presName="parentShp" presStyleLbl="node1" presStyleIdx="1" presStyleCnt="2" custScaleX="69123" custScaleY="37708" custLinFactNeighborX="-404" custLinFactNeighborY="-4161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678ECAC8-0087-D14B-8C01-830FE6B711E3}" type="pres">
      <dgm:prSet presAssocID="{22CBC921-3177-C942-ACA2-1758C5255038}" presName="childShp" presStyleLbl="bgAccFollowNode1" presStyleIdx="1" presStyleCnt="2" custScaleX="113479" custScaleY="34155" custLinFactNeighborX="3859" custLinFactNeighborY="-4045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en-US"/>
        </a:p>
      </dgm:t>
    </dgm:pt>
  </dgm:ptLst>
  <dgm:cxnLst>
    <dgm:cxn modelId="{48790ED1-43DA-4937-B0DD-4D66B795D211}" type="presOf" srcId="{22CBC921-3177-C942-ACA2-1758C5255038}" destId="{6AAC80AE-A69B-1F43-8746-F71D4120E1AA}" srcOrd="0" destOrd="0" presId="urn:microsoft.com/office/officeart/2005/8/layout/vList6"/>
    <dgm:cxn modelId="{C12CA1BD-938C-4859-A071-92524A00300F}" type="presOf" srcId="{E74B37F3-290F-7F4D-86DC-EB7E2387E1DC}" destId="{A898D999-A8A0-4A44-87FB-4479EAD2AEE9}" srcOrd="0" destOrd="0" presId="urn:microsoft.com/office/officeart/2005/8/layout/vList6"/>
    <dgm:cxn modelId="{BEF8CB24-D939-AB4F-97E0-1102C60DF3A1}" srcId="{1150E30F-CBE9-2447-A59F-A27E5030B907}" destId="{22CBC921-3177-C942-ACA2-1758C5255038}" srcOrd="1" destOrd="0" parTransId="{86BC7CAA-C724-CC4A-A8D4-41AF71AB78C8}" sibTransId="{11F64AAE-BBE5-F74A-9C08-DB58FAA02590}"/>
    <dgm:cxn modelId="{CA22CF34-8E52-B948-A5CC-9162D5066CB2}" srcId="{E74B37F3-290F-7F4D-86DC-EB7E2387E1DC}" destId="{706C2955-A676-264F-A8C4-EB2BE91E8427}" srcOrd="1" destOrd="0" parTransId="{4FA271A0-E4D5-9A43-8CB8-3D8D1B4C7BE3}" sibTransId="{EB716F18-8B30-9548-81D5-FBC4E257FFC5}"/>
    <dgm:cxn modelId="{081A8699-EE72-4572-BBFD-0E0B52C79295}" type="presOf" srcId="{F319E99D-1558-1645-94F1-FEC382B4588C}" destId="{678ECAC8-0087-D14B-8C01-830FE6B711E3}" srcOrd="0" destOrd="0" presId="urn:microsoft.com/office/officeart/2005/8/layout/vList6"/>
    <dgm:cxn modelId="{12717D7E-245F-D645-B0DC-6443EFA65CB5}" srcId="{E74B37F3-290F-7F4D-86DC-EB7E2387E1DC}" destId="{3360C733-CFA6-FE4B-B3E0-C993DEB79410}" srcOrd="0" destOrd="0" parTransId="{BB43A413-FD98-584C-A6B9-4FCCE68E3056}" sibTransId="{3FED3384-AB8D-AA41-8165-431819CEE5F2}"/>
    <dgm:cxn modelId="{439DBBFD-F9BC-4CAA-BB60-1CC97940B168}" type="presOf" srcId="{186C8EC7-10F1-0E43-A066-986E5A7AC0A6}" destId="{678ECAC8-0087-D14B-8C01-830FE6B711E3}" srcOrd="0" destOrd="1" presId="urn:microsoft.com/office/officeart/2005/8/layout/vList6"/>
    <dgm:cxn modelId="{58D02B3D-02AA-2B46-B7BD-4F68740686C0}" srcId="{1150E30F-CBE9-2447-A59F-A27E5030B907}" destId="{E74B37F3-290F-7F4D-86DC-EB7E2387E1DC}" srcOrd="0" destOrd="0" parTransId="{ACE703C7-0DC8-1347-B522-B71D5012A80D}" sibTransId="{0AEC3DCC-57F9-2C48-907B-165704CCFCC8}"/>
    <dgm:cxn modelId="{E55C6A6E-0E09-4DEC-8261-25489B845558}" type="presOf" srcId="{C9FACD9B-0A8B-DD49-B521-AF7B37376220}" destId="{678ECAC8-0087-D14B-8C01-830FE6B711E3}" srcOrd="0" destOrd="2" presId="urn:microsoft.com/office/officeart/2005/8/layout/vList6"/>
    <dgm:cxn modelId="{E9B4DD6C-083E-534E-AC69-11A2F549CBBD}" srcId="{E74B37F3-290F-7F4D-86DC-EB7E2387E1DC}" destId="{7821D1B8-A1E5-3C4B-B697-CDE4C2314DBD}" srcOrd="2" destOrd="0" parTransId="{8F8AB4B9-9982-744A-AC03-0C1B0B7023C7}" sibTransId="{28B8BA68-2CB2-5348-9AEF-22FED69E5B8C}"/>
    <dgm:cxn modelId="{0C6CC785-F11E-45E9-B7E4-0F830B25ED0A}" type="presOf" srcId="{7821D1B8-A1E5-3C4B-B697-CDE4C2314DBD}" destId="{D28AFB0C-43D1-EC4A-8054-651C134F31A1}" srcOrd="0" destOrd="2" presId="urn:microsoft.com/office/officeart/2005/8/layout/vList6"/>
    <dgm:cxn modelId="{A0483CC2-3795-487F-A08B-AF747BF79632}" type="presOf" srcId="{3360C733-CFA6-FE4B-B3E0-C993DEB79410}" destId="{D28AFB0C-43D1-EC4A-8054-651C134F31A1}" srcOrd="0" destOrd="0" presId="urn:microsoft.com/office/officeart/2005/8/layout/vList6"/>
    <dgm:cxn modelId="{52A2748D-8157-4248-8741-71126DCD6ED3}" srcId="{22CBC921-3177-C942-ACA2-1758C5255038}" destId="{C9FACD9B-0A8B-DD49-B521-AF7B37376220}" srcOrd="2" destOrd="0" parTransId="{EAEA9DC6-F791-974A-9B8F-2AFA27892A7C}" sibTransId="{67E2BBC2-A79D-6041-97D0-4DE9541C65D6}"/>
    <dgm:cxn modelId="{ED6E0DB9-74AA-4B4B-8D06-6D6AD2331ACE}" srcId="{22CBC921-3177-C942-ACA2-1758C5255038}" destId="{F319E99D-1558-1645-94F1-FEC382B4588C}" srcOrd="0" destOrd="0" parTransId="{67CE68A7-042D-5A40-91EC-9B1BE5099110}" sibTransId="{89FDB774-2674-924F-B215-29EB0A69CBC1}"/>
    <dgm:cxn modelId="{B2CF2469-CD1A-DB4A-865F-C9340F9EE748}" srcId="{22CBC921-3177-C942-ACA2-1758C5255038}" destId="{186C8EC7-10F1-0E43-A066-986E5A7AC0A6}" srcOrd="1" destOrd="0" parTransId="{A2A7DB36-2D74-2641-9482-633EE4B56B84}" sibTransId="{0DA84C85-FE45-C741-8229-BAABD88CCD27}"/>
    <dgm:cxn modelId="{DDB447F2-607C-4891-A832-D43D0960C115}" type="presOf" srcId="{1150E30F-CBE9-2447-A59F-A27E5030B907}" destId="{71FB8307-676A-2C40-8509-689418F2AF9B}" srcOrd="0" destOrd="0" presId="urn:microsoft.com/office/officeart/2005/8/layout/vList6"/>
    <dgm:cxn modelId="{CEEC85C2-F874-4FDF-AF17-738EB5EAAB20}" type="presOf" srcId="{706C2955-A676-264F-A8C4-EB2BE91E8427}" destId="{D28AFB0C-43D1-EC4A-8054-651C134F31A1}" srcOrd="0" destOrd="1" presId="urn:microsoft.com/office/officeart/2005/8/layout/vList6"/>
    <dgm:cxn modelId="{525A90BE-7734-46BE-A8C2-B0638CA3F384}" type="presParOf" srcId="{71FB8307-676A-2C40-8509-689418F2AF9B}" destId="{96184A2A-4171-0442-9BF6-BF80E28EAEAC}" srcOrd="0" destOrd="0" presId="urn:microsoft.com/office/officeart/2005/8/layout/vList6"/>
    <dgm:cxn modelId="{2BFE3B31-8D6F-4862-9C54-4F99A3D1B036}" type="presParOf" srcId="{96184A2A-4171-0442-9BF6-BF80E28EAEAC}" destId="{A898D999-A8A0-4A44-87FB-4479EAD2AEE9}" srcOrd="0" destOrd="0" presId="urn:microsoft.com/office/officeart/2005/8/layout/vList6"/>
    <dgm:cxn modelId="{3D4D71D1-98DF-42F7-BFEA-C4C1F470FA8D}" type="presParOf" srcId="{96184A2A-4171-0442-9BF6-BF80E28EAEAC}" destId="{D28AFB0C-43D1-EC4A-8054-651C134F31A1}" srcOrd="1" destOrd="0" presId="urn:microsoft.com/office/officeart/2005/8/layout/vList6"/>
    <dgm:cxn modelId="{4863FFCC-D011-4A24-8B05-30C87565979E}" type="presParOf" srcId="{71FB8307-676A-2C40-8509-689418F2AF9B}" destId="{D68A59DA-C8FC-4C48-9E51-5E02BA34F16A}" srcOrd="1" destOrd="0" presId="urn:microsoft.com/office/officeart/2005/8/layout/vList6"/>
    <dgm:cxn modelId="{D29D34F2-8328-4E5D-851C-668E3CFC110B}" type="presParOf" srcId="{71FB8307-676A-2C40-8509-689418F2AF9B}" destId="{97334A84-20EA-6F4E-9CAC-73FFD8CD80AD}" srcOrd="2" destOrd="0" presId="urn:microsoft.com/office/officeart/2005/8/layout/vList6"/>
    <dgm:cxn modelId="{5C1C7632-82CC-4DF5-B6E3-C47A3B231B75}" type="presParOf" srcId="{97334A84-20EA-6F4E-9CAC-73FFD8CD80AD}" destId="{6AAC80AE-A69B-1F43-8746-F71D4120E1AA}" srcOrd="0" destOrd="0" presId="urn:microsoft.com/office/officeart/2005/8/layout/vList6"/>
    <dgm:cxn modelId="{C88A965F-FDF0-437B-8348-90B255925773}" type="presParOf" srcId="{97334A84-20EA-6F4E-9CAC-73FFD8CD80AD}" destId="{678ECAC8-0087-D14B-8C01-830FE6B711E3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14FBBEF-D893-4C04-87FC-BA9AED97A429}" type="doc">
      <dgm:prSet loTypeId="urn:microsoft.com/office/officeart/2005/8/layout/hProcess9" loCatId="process" qsTypeId="urn:microsoft.com/office/officeart/2005/8/quickstyle/simple5" qsCatId="simple" csTypeId="urn:microsoft.com/office/officeart/2005/8/colors/accent3_2" csCatId="accent3" phldr="1"/>
      <dgm:spPr/>
      <dgm:t>
        <a:bodyPr/>
        <a:lstStyle/>
        <a:p>
          <a:endParaRPr lang="pt-PT"/>
        </a:p>
      </dgm:t>
    </dgm:pt>
    <dgm:pt modelId="{DFFDF4C8-23F7-4F20-86DA-248B8916FB58}">
      <dgm:prSet/>
      <dgm:spPr>
        <a:solidFill>
          <a:srgbClr val="388D2B"/>
        </a:solidFill>
      </dgm:spPr>
      <dgm:t>
        <a:bodyPr/>
        <a:lstStyle/>
        <a:p>
          <a:pPr rtl="0"/>
          <a:r>
            <a:rPr lang="pt-PT" dirty="0" smtClean="0">
              <a:latin typeface="Arial" pitchFamily="34" charset="0"/>
              <a:cs typeface="Arial" pitchFamily="34" charset="0"/>
            </a:rPr>
            <a:t>Processo</a:t>
          </a:r>
        </a:p>
        <a:p>
          <a:pPr rtl="0"/>
          <a:r>
            <a:rPr lang="pt-PT" dirty="0" smtClean="0">
              <a:latin typeface="Arial" pitchFamily="34" charset="0"/>
              <a:cs typeface="Arial" pitchFamily="34" charset="0"/>
            </a:rPr>
            <a:t>Contínuo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89068833-AD98-41DB-90CA-CB0B4ADEE1E6}" type="parTrans" cxnId="{F3137057-2754-4666-ADFE-7B607173C0DE}">
      <dgm:prSet/>
      <dgm:spPr/>
      <dgm:t>
        <a:bodyPr/>
        <a:lstStyle/>
        <a:p>
          <a:endParaRPr lang="pt-PT"/>
        </a:p>
      </dgm:t>
    </dgm:pt>
    <dgm:pt modelId="{AF6F0C43-060D-4F58-85C9-24117D5CBADE}" type="sibTrans" cxnId="{F3137057-2754-4666-ADFE-7B607173C0DE}">
      <dgm:prSet/>
      <dgm:spPr/>
      <dgm:t>
        <a:bodyPr/>
        <a:lstStyle/>
        <a:p>
          <a:endParaRPr lang="pt-PT"/>
        </a:p>
      </dgm:t>
    </dgm:pt>
    <dgm:pt modelId="{E9785CAE-E9AC-46DF-9086-673733499CC4}">
      <dgm:prSet/>
      <dgm:spPr>
        <a:solidFill>
          <a:schemeClr val="accent6">
            <a:lumMod val="50000"/>
          </a:schemeClr>
        </a:solidFill>
      </dgm:spPr>
      <dgm:t>
        <a:bodyPr/>
        <a:lstStyle/>
        <a:p>
          <a:pPr rtl="0"/>
          <a:r>
            <a:rPr lang="pt-PT" dirty="0" smtClean="0">
              <a:latin typeface="Arial" pitchFamily="34" charset="0"/>
              <a:cs typeface="Arial" pitchFamily="34" charset="0"/>
            </a:rPr>
            <a:t>+ 33 Milhões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A383A50C-787A-418E-AF5F-D64A1BCC7C82}" type="parTrans" cxnId="{95FC42F5-1390-44D9-95D3-3BE111812981}">
      <dgm:prSet/>
      <dgm:spPr/>
      <dgm:t>
        <a:bodyPr/>
        <a:lstStyle/>
        <a:p>
          <a:endParaRPr lang="pt-PT"/>
        </a:p>
      </dgm:t>
    </dgm:pt>
    <dgm:pt modelId="{72516EAD-1D25-49D3-8CBD-5B0A5F1B14C3}" type="sibTrans" cxnId="{95FC42F5-1390-44D9-95D3-3BE111812981}">
      <dgm:prSet/>
      <dgm:spPr/>
      <dgm:t>
        <a:bodyPr/>
        <a:lstStyle/>
        <a:p>
          <a:endParaRPr lang="pt-PT"/>
        </a:p>
      </dgm:t>
    </dgm:pt>
    <dgm:pt modelId="{AE49CA6D-4FEC-4588-9D32-38131C3DF3AF}">
      <dgm:prSet/>
      <dgm:spPr>
        <a:solidFill>
          <a:srgbClr val="388D2B"/>
        </a:solidFill>
      </dgm:spPr>
      <dgm:t>
        <a:bodyPr/>
        <a:lstStyle/>
        <a:p>
          <a:pPr rtl="0"/>
          <a:r>
            <a:rPr lang="pt-PT" dirty="0" smtClean="0">
              <a:latin typeface="Arial" pitchFamily="34" charset="0"/>
              <a:cs typeface="Arial" pitchFamily="34" charset="0"/>
            </a:rPr>
            <a:t>Critérios Simplificados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FCF4BB40-2AB6-4FA1-9A29-EEDB8A1EC97D}" type="parTrans" cxnId="{40396AD3-2DFE-40FB-8C51-DFC5F4445689}">
      <dgm:prSet/>
      <dgm:spPr/>
      <dgm:t>
        <a:bodyPr/>
        <a:lstStyle/>
        <a:p>
          <a:endParaRPr lang="pt-PT"/>
        </a:p>
      </dgm:t>
    </dgm:pt>
    <dgm:pt modelId="{C9A11A51-4BCA-4024-995F-0A1F4B985B82}" type="sibTrans" cxnId="{40396AD3-2DFE-40FB-8C51-DFC5F4445689}">
      <dgm:prSet/>
      <dgm:spPr/>
      <dgm:t>
        <a:bodyPr/>
        <a:lstStyle/>
        <a:p>
          <a:endParaRPr lang="pt-PT"/>
        </a:p>
      </dgm:t>
    </dgm:pt>
    <dgm:pt modelId="{F0AB40C2-E619-6945-B6CB-7AB8971B9650}">
      <dgm:prSet/>
      <dgm:spPr>
        <a:solidFill>
          <a:srgbClr val="388D2B"/>
        </a:solidFill>
      </dgm:spPr>
      <dgm:t>
        <a:bodyPr/>
        <a:lstStyle/>
        <a:p>
          <a:pPr rtl="0"/>
          <a:r>
            <a:rPr lang="pt-PT" dirty="0" smtClean="0">
              <a:latin typeface="Arial" pitchFamily="34" charset="0"/>
              <a:cs typeface="Arial" pitchFamily="34" charset="0"/>
            </a:rPr>
            <a:t>3 Medidas Abertas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4444A8D2-9321-784E-BFEA-876428E0EE2F}" type="parTrans" cxnId="{33EC2FDD-9CFF-AD4E-BD81-65C732A8D681}">
      <dgm:prSet/>
      <dgm:spPr/>
      <dgm:t>
        <a:bodyPr/>
        <a:lstStyle/>
        <a:p>
          <a:endParaRPr lang="en-US"/>
        </a:p>
      </dgm:t>
    </dgm:pt>
    <dgm:pt modelId="{48849ABC-8783-ED44-A58A-57F1CD61B281}" type="sibTrans" cxnId="{33EC2FDD-9CFF-AD4E-BD81-65C732A8D681}">
      <dgm:prSet/>
      <dgm:spPr/>
      <dgm:t>
        <a:bodyPr/>
        <a:lstStyle/>
        <a:p>
          <a:endParaRPr lang="en-US"/>
        </a:p>
      </dgm:t>
    </dgm:pt>
    <dgm:pt modelId="{9AD42554-2954-46A1-A8B5-EE1B9EEFB697}" type="pres">
      <dgm:prSet presAssocID="{E14FBBEF-D893-4C04-87FC-BA9AED97A429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6E9CC159-148E-45AE-9F42-C681953B6A48}" type="pres">
      <dgm:prSet presAssocID="{E14FBBEF-D893-4C04-87FC-BA9AED97A429}" presName="arrow" presStyleLbl="bgShp" presStyleIdx="0" presStyleCn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endParaRPr lang="en-US"/>
        </a:p>
      </dgm:t>
    </dgm:pt>
    <dgm:pt modelId="{1218D41A-415F-4702-A29B-5CBE7DCC3914}" type="pres">
      <dgm:prSet presAssocID="{E14FBBEF-D893-4C04-87FC-BA9AED97A429}" presName="linearProcess" presStyleCnt="0"/>
      <dgm:spPr/>
      <dgm:t>
        <a:bodyPr/>
        <a:lstStyle/>
        <a:p>
          <a:endParaRPr lang="en-US"/>
        </a:p>
      </dgm:t>
    </dgm:pt>
    <dgm:pt modelId="{E77DDDB6-040B-45BA-83F5-D21766C727EB}" type="pres">
      <dgm:prSet presAssocID="{DFFDF4C8-23F7-4F20-86DA-248B8916FB58}" presName="textNode" presStyleLbl="node1" presStyleIdx="0" presStyleCnt="4" custScaleX="95062" custScaleY="98869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8AEF371E-533B-4CCD-A853-AD687CB3F893}" type="pres">
      <dgm:prSet presAssocID="{AF6F0C43-060D-4F58-85C9-24117D5CBADE}" presName="sibTrans" presStyleCnt="0"/>
      <dgm:spPr/>
      <dgm:t>
        <a:bodyPr/>
        <a:lstStyle/>
        <a:p>
          <a:endParaRPr lang="en-US"/>
        </a:p>
      </dgm:t>
    </dgm:pt>
    <dgm:pt modelId="{174B62AF-9AE1-4505-9672-873851DC0FDF}" type="pres">
      <dgm:prSet presAssocID="{AE49CA6D-4FEC-4588-9D32-38131C3DF3AF}" presName="textNode" presStyleLbl="node1" presStyleIdx="1" presStyleCnt="4" custScaleX="95062" custScaleY="98869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AEFDF373-D50E-411C-A434-92BAEC35A713}" type="pres">
      <dgm:prSet presAssocID="{C9A11A51-4BCA-4024-995F-0A1F4B985B82}" presName="sibTrans" presStyleCnt="0"/>
      <dgm:spPr/>
      <dgm:t>
        <a:bodyPr/>
        <a:lstStyle/>
        <a:p>
          <a:endParaRPr lang="en-US"/>
        </a:p>
      </dgm:t>
    </dgm:pt>
    <dgm:pt modelId="{4B890A81-2B7A-1247-8B08-F42FF907DD00}" type="pres">
      <dgm:prSet presAssocID="{F0AB40C2-E619-6945-B6CB-7AB8971B9650}" presName="text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1DB77E4-39EF-654C-975B-37C462FFCEEC}" type="pres">
      <dgm:prSet presAssocID="{48849ABC-8783-ED44-A58A-57F1CD61B281}" presName="sibTrans" presStyleCnt="0"/>
      <dgm:spPr/>
    </dgm:pt>
    <dgm:pt modelId="{3FA9821F-789C-4779-8052-FC7FEB0AECED}" type="pres">
      <dgm:prSet presAssocID="{E9785CAE-E9AC-46DF-9086-673733499CC4}" presName="textNode" presStyleLbl="node1" presStyleIdx="3" presStyleCnt="4" custScaleX="95062" custScaleY="98869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95FC42F5-1390-44D9-95D3-3BE111812981}" srcId="{E14FBBEF-D893-4C04-87FC-BA9AED97A429}" destId="{E9785CAE-E9AC-46DF-9086-673733499CC4}" srcOrd="3" destOrd="0" parTransId="{A383A50C-787A-418E-AF5F-D64A1BCC7C82}" sibTransId="{72516EAD-1D25-49D3-8CBD-5B0A5F1B14C3}"/>
    <dgm:cxn modelId="{33EC2FDD-9CFF-AD4E-BD81-65C732A8D681}" srcId="{E14FBBEF-D893-4C04-87FC-BA9AED97A429}" destId="{F0AB40C2-E619-6945-B6CB-7AB8971B9650}" srcOrd="2" destOrd="0" parTransId="{4444A8D2-9321-784E-BFEA-876428E0EE2F}" sibTransId="{48849ABC-8783-ED44-A58A-57F1CD61B281}"/>
    <dgm:cxn modelId="{CE8732F2-7354-044F-943B-F6D117E78C01}" type="presOf" srcId="{DFFDF4C8-23F7-4F20-86DA-248B8916FB58}" destId="{E77DDDB6-040B-45BA-83F5-D21766C727EB}" srcOrd="0" destOrd="0" presId="urn:microsoft.com/office/officeart/2005/8/layout/hProcess9"/>
    <dgm:cxn modelId="{40396AD3-2DFE-40FB-8C51-DFC5F4445689}" srcId="{E14FBBEF-D893-4C04-87FC-BA9AED97A429}" destId="{AE49CA6D-4FEC-4588-9D32-38131C3DF3AF}" srcOrd="1" destOrd="0" parTransId="{FCF4BB40-2AB6-4FA1-9A29-EEDB8A1EC97D}" sibTransId="{C9A11A51-4BCA-4024-995F-0A1F4B985B82}"/>
    <dgm:cxn modelId="{F3F05C1A-9798-2641-8C98-C268F0144006}" type="presOf" srcId="{AE49CA6D-4FEC-4588-9D32-38131C3DF3AF}" destId="{174B62AF-9AE1-4505-9672-873851DC0FDF}" srcOrd="0" destOrd="0" presId="urn:microsoft.com/office/officeart/2005/8/layout/hProcess9"/>
    <dgm:cxn modelId="{4C3302F7-228F-8648-BB3A-C7441B6666BE}" type="presOf" srcId="{E9785CAE-E9AC-46DF-9086-673733499CC4}" destId="{3FA9821F-789C-4779-8052-FC7FEB0AECED}" srcOrd="0" destOrd="0" presId="urn:microsoft.com/office/officeart/2005/8/layout/hProcess9"/>
    <dgm:cxn modelId="{F3137057-2754-4666-ADFE-7B607173C0DE}" srcId="{E14FBBEF-D893-4C04-87FC-BA9AED97A429}" destId="{DFFDF4C8-23F7-4F20-86DA-248B8916FB58}" srcOrd="0" destOrd="0" parTransId="{89068833-AD98-41DB-90CA-CB0B4ADEE1E6}" sibTransId="{AF6F0C43-060D-4F58-85C9-24117D5CBADE}"/>
    <dgm:cxn modelId="{1B5D3E84-CBA5-9E41-9164-964A131BF809}" type="presOf" srcId="{E14FBBEF-D893-4C04-87FC-BA9AED97A429}" destId="{9AD42554-2954-46A1-A8B5-EE1B9EEFB697}" srcOrd="0" destOrd="0" presId="urn:microsoft.com/office/officeart/2005/8/layout/hProcess9"/>
    <dgm:cxn modelId="{148BCDF5-B9D2-3543-8E2A-7775F4257FB1}" type="presOf" srcId="{F0AB40C2-E619-6945-B6CB-7AB8971B9650}" destId="{4B890A81-2B7A-1247-8B08-F42FF907DD00}" srcOrd="0" destOrd="0" presId="urn:microsoft.com/office/officeart/2005/8/layout/hProcess9"/>
    <dgm:cxn modelId="{82CDD7EA-106F-0D43-9F9E-2F7CBD1FC61E}" type="presParOf" srcId="{9AD42554-2954-46A1-A8B5-EE1B9EEFB697}" destId="{6E9CC159-148E-45AE-9F42-C681953B6A48}" srcOrd="0" destOrd="0" presId="urn:microsoft.com/office/officeart/2005/8/layout/hProcess9"/>
    <dgm:cxn modelId="{528103EA-089E-9748-8897-31C31A36A979}" type="presParOf" srcId="{9AD42554-2954-46A1-A8B5-EE1B9EEFB697}" destId="{1218D41A-415F-4702-A29B-5CBE7DCC3914}" srcOrd="1" destOrd="0" presId="urn:microsoft.com/office/officeart/2005/8/layout/hProcess9"/>
    <dgm:cxn modelId="{528B07FB-CAC7-124A-B478-6AFB046B2060}" type="presParOf" srcId="{1218D41A-415F-4702-A29B-5CBE7DCC3914}" destId="{E77DDDB6-040B-45BA-83F5-D21766C727EB}" srcOrd="0" destOrd="0" presId="urn:microsoft.com/office/officeart/2005/8/layout/hProcess9"/>
    <dgm:cxn modelId="{8CC34F67-9B1A-2849-AF35-022B5DD0EBB4}" type="presParOf" srcId="{1218D41A-415F-4702-A29B-5CBE7DCC3914}" destId="{8AEF371E-533B-4CCD-A853-AD687CB3F893}" srcOrd="1" destOrd="0" presId="urn:microsoft.com/office/officeart/2005/8/layout/hProcess9"/>
    <dgm:cxn modelId="{0739D21E-5C34-6E41-A25B-E55814058630}" type="presParOf" srcId="{1218D41A-415F-4702-A29B-5CBE7DCC3914}" destId="{174B62AF-9AE1-4505-9672-873851DC0FDF}" srcOrd="2" destOrd="0" presId="urn:microsoft.com/office/officeart/2005/8/layout/hProcess9"/>
    <dgm:cxn modelId="{1B4FF6CE-31D9-2B42-8473-7A1B11BA1CB0}" type="presParOf" srcId="{1218D41A-415F-4702-A29B-5CBE7DCC3914}" destId="{AEFDF373-D50E-411C-A434-92BAEC35A713}" srcOrd="3" destOrd="0" presId="urn:microsoft.com/office/officeart/2005/8/layout/hProcess9"/>
    <dgm:cxn modelId="{FF3010AD-D776-EC4B-98A7-29EC50893892}" type="presParOf" srcId="{1218D41A-415F-4702-A29B-5CBE7DCC3914}" destId="{4B890A81-2B7A-1247-8B08-F42FF907DD00}" srcOrd="4" destOrd="0" presId="urn:microsoft.com/office/officeart/2005/8/layout/hProcess9"/>
    <dgm:cxn modelId="{9980E55C-CBBF-3B4F-A310-7A78707650E3}" type="presParOf" srcId="{1218D41A-415F-4702-A29B-5CBE7DCC3914}" destId="{61DB77E4-39EF-654C-975B-37C462FFCEEC}" srcOrd="5" destOrd="0" presId="urn:microsoft.com/office/officeart/2005/8/layout/hProcess9"/>
    <dgm:cxn modelId="{BE13B0FD-EE79-DF45-B0EA-EBA331880E26}" type="presParOf" srcId="{1218D41A-415F-4702-A29B-5CBE7DCC3914}" destId="{3FA9821F-789C-4779-8052-FC7FEB0AECED}" srcOrd="6" destOrd="0" presId="urn:microsoft.com/office/officeart/2005/8/layout/hProcess9"/>
  </dgm:cxnLst>
  <dgm:bg>
    <a:noFill/>
  </dgm:bg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14FBBEF-D893-4C04-87FC-BA9AED97A429}" type="doc">
      <dgm:prSet loTypeId="urn:microsoft.com/office/officeart/2005/8/layout/hList7" loCatId="list" qsTypeId="urn:microsoft.com/office/officeart/2005/8/quickstyle/simple1#1" qsCatId="simple" csTypeId="urn:microsoft.com/office/officeart/2005/8/colors/accent2_5" csCatId="accent2" phldr="1"/>
      <dgm:spPr/>
      <dgm:t>
        <a:bodyPr/>
        <a:lstStyle/>
        <a:p>
          <a:endParaRPr lang="pt-PT"/>
        </a:p>
      </dgm:t>
    </dgm:pt>
    <dgm:pt modelId="{DFFDF4C8-23F7-4F20-86DA-248B8916FB58}">
      <dgm:prSet custT="1"/>
      <dgm:spPr/>
      <dgm:t>
        <a:bodyPr/>
        <a:lstStyle/>
        <a:p>
          <a:pPr rtl="0"/>
          <a:r>
            <a:rPr lang="pt-PT" sz="1400" dirty="0" smtClean="0">
              <a:latin typeface="Arial" pitchFamily="34" charset="0"/>
              <a:cs typeface="Arial" pitchFamily="34" charset="0"/>
            </a:rPr>
            <a:t>PRODUÇÃO DE NOVOS BENS E SERVIÇOS</a:t>
          </a:r>
          <a:endParaRPr lang="pt-PT" sz="1400" dirty="0">
            <a:latin typeface="Arial" pitchFamily="34" charset="0"/>
            <a:cs typeface="Arial" pitchFamily="34" charset="0"/>
          </a:endParaRPr>
        </a:p>
      </dgm:t>
    </dgm:pt>
    <dgm:pt modelId="{89068833-AD98-41DB-90CA-CB0B4ADEE1E6}" type="parTrans" cxnId="{F3137057-2754-4666-ADFE-7B607173C0DE}">
      <dgm:prSet/>
      <dgm:spPr/>
      <dgm:t>
        <a:bodyPr/>
        <a:lstStyle/>
        <a:p>
          <a:endParaRPr lang="pt-PT"/>
        </a:p>
      </dgm:t>
    </dgm:pt>
    <dgm:pt modelId="{AF6F0C43-060D-4F58-85C9-24117D5CBADE}" type="sibTrans" cxnId="{F3137057-2754-4666-ADFE-7B607173C0DE}">
      <dgm:prSet/>
      <dgm:spPr/>
      <dgm:t>
        <a:bodyPr/>
        <a:lstStyle/>
        <a:p>
          <a:endParaRPr lang="pt-PT"/>
        </a:p>
      </dgm:t>
    </dgm:pt>
    <dgm:pt modelId="{E9785CAE-E9AC-46DF-9086-673733499CC4}">
      <dgm:prSet custT="1"/>
      <dgm:spPr/>
      <dgm:t>
        <a:bodyPr/>
        <a:lstStyle/>
        <a:p>
          <a:pPr rtl="0"/>
          <a:r>
            <a:rPr lang="pt-PT" sz="1400" dirty="0" smtClean="0">
              <a:latin typeface="Arial" pitchFamily="34" charset="0"/>
              <a:cs typeface="Arial" pitchFamily="34" charset="0"/>
            </a:rPr>
            <a:t>NOVOS MÉTODOS DE LOGÍSTICA E DISTRIBUIÇÃO</a:t>
          </a:r>
          <a:endParaRPr lang="pt-PT" sz="1400" dirty="0">
            <a:latin typeface="Arial" pitchFamily="34" charset="0"/>
            <a:cs typeface="Arial" pitchFamily="34" charset="0"/>
          </a:endParaRPr>
        </a:p>
      </dgm:t>
    </dgm:pt>
    <dgm:pt modelId="{A383A50C-787A-418E-AF5F-D64A1BCC7C82}" type="parTrans" cxnId="{95FC42F5-1390-44D9-95D3-3BE111812981}">
      <dgm:prSet/>
      <dgm:spPr/>
      <dgm:t>
        <a:bodyPr/>
        <a:lstStyle/>
        <a:p>
          <a:endParaRPr lang="pt-PT"/>
        </a:p>
      </dgm:t>
    </dgm:pt>
    <dgm:pt modelId="{72516EAD-1D25-49D3-8CBD-5B0A5F1B14C3}" type="sibTrans" cxnId="{95FC42F5-1390-44D9-95D3-3BE111812981}">
      <dgm:prSet/>
      <dgm:spPr/>
      <dgm:t>
        <a:bodyPr/>
        <a:lstStyle/>
        <a:p>
          <a:endParaRPr lang="pt-PT"/>
        </a:p>
      </dgm:t>
    </dgm:pt>
    <dgm:pt modelId="{7C5E9939-189E-4F2F-86DE-72994597630E}">
      <dgm:prSet custT="1"/>
      <dgm:spPr/>
      <dgm:t>
        <a:bodyPr/>
        <a:lstStyle/>
        <a:p>
          <a:pPr rtl="0"/>
          <a:r>
            <a:rPr lang="pt-PT" sz="1400" dirty="0" smtClean="0">
              <a:latin typeface="Arial" pitchFamily="34" charset="0"/>
              <a:cs typeface="Arial" pitchFamily="34" charset="0"/>
            </a:rPr>
            <a:t>NOVOS MÉTODOS ORGANIZACIONAIS OU </a:t>
          </a:r>
        </a:p>
        <a:p>
          <a:pPr rtl="0"/>
          <a:r>
            <a:rPr lang="pt-PT" sz="1400" dirty="0" smtClean="0">
              <a:latin typeface="Arial" pitchFamily="34" charset="0"/>
              <a:cs typeface="Arial" pitchFamily="34" charset="0"/>
            </a:rPr>
            <a:t>DE MARKETING</a:t>
          </a:r>
          <a:endParaRPr lang="pt-PT" sz="1400" dirty="0">
            <a:latin typeface="Arial" pitchFamily="34" charset="0"/>
            <a:cs typeface="Arial" pitchFamily="34" charset="0"/>
          </a:endParaRPr>
        </a:p>
      </dgm:t>
    </dgm:pt>
    <dgm:pt modelId="{BB7DECF9-CBB0-41CD-8306-C599ADEFCD9D}" type="parTrans" cxnId="{6C6279C2-98F7-4289-ADE1-2D851B0124F5}">
      <dgm:prSet/>
      <dgm:spPr/>
      <dgm:t>
        <a:bodyPr/>
        <a:lstStyle/>
        <a:p>
          <a:endParaRPr lang="pt-PT"/>
        </a:p>
      </dgm:t>
    </dgm:pt>
    <dgm:pt modelId="{0B908EBE-9E30-4923-9F8A-1C3B3B21B54C}" type="sibTrans" cxnId="{6C6279C2-98F7-4289-ADE1-2D851B0124F5}">
      <dgm:prSet/>
      <dgm:spPr/>
      <dgm:t>
        <a:bodyPr/>
        <a:lstStyle/>
        <a:p>
          <a:endParaRPr lang="pt-PT"/>
        </a:p>
      </dgm:t>
    </dgm:pt>
    <dgm:pt modelId="{AE49CA6D-4FEC-4588-9D32-38131C3DF3AF}">
      <dgm:prSet custT="1"/>
      <dgm:spPr/>
      <dgm:t>
        <a:bodyPr/>
        <a:lstStyle/>
        <a:p>
          <a:pPr rtl="0"/>
          <a:r>
            <a:rPr lang="pt-PT" sz="1400" dirty="0" smtClean="0">
              <a:latin typeface="Arial" pitchFamily="34" charset="0"/>
              <a:cs typeface="Arial" pitchFamily="34" charset="0"/>
            </a:rPr>
            <a:t>NOVOS PROCESSOS DE FABRICO</a:t>
          </a:r>
          <a:endParaRPr lang="pt-PT" sz="1400" dirty="0">
            <a:latin typeface="Arial" pitchFamily="34" charset="0"/>
            <a:cs typeface="Arial" pitchFamily="34" charset="0"/>
          </a:endParaRPr>
        </a:p>
      </dgm:t>
    </dgm:pt>
    <dgm:pt modelId="{FCF4BB40-2AB6-4FA1-9A29-EEDB8A1EC97D}" type="parTrans" cxnId="{40396AD3-2DFE-40FB-8C51-DFC5F4445689}">
      <dgm:prSet/>
      <dgm:spPr/>
      <dgm:t>
        <a:bodyPr/>
        <a:lstStyle/>
        <a:p>
          <a:endParaRPr lang="pt-PT"/>
        </a:p>
      </dgm:t>
    </dgm:pt>
    <dgm:pt modelId="{C9A11A51-4BCA-4024-995F-0A1F4B985B82}" type="sibTrans" cxnId="{40396AD3-2DFE-40FB-8C51-DFC5F4445689}">
      <dgm:prSet/>
      <dgm:spPr/>
      <dgm:t>
        <a:bodyPr/>
        <a:lstStyle/>
        <a:p>
          <a:endParaRPr lang="pt-PT"/>
        </a:p>
      </dgm:t>
    </dgm:pt>
    <dgm:pt modelId="{49A04785-855F-491F-A9FA-7BE389B4ED46}" type="pres">
      <dgm:prSet presAssocID="{E14FBBEF-D893-4C04-87FC-BA9AED97A42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A3BFD760-CE4F-4082-B876-9F566CE709C2}" type="pres">
      <dgm:prSet presAssocID="{E14FBBEF-D893-4C04-87FC-BA9AED97A429}" presName="fgShape" presStyleLbl="fgShp" presStyleIdx="0" presStyleCnt="1"/>
      <dgm:spPr/>
    </dgm:pt>
    <dgm:pt modelId="{2C2A1D75-91B1-4FC6-BFEF-B7273764B609}" type="pres">
      <dgm:prSet presAssocID="{E14FBBEF-D893-4C04-87FC-BA9AED97A429}" presName="linComp" presStyleCnt="0"/>
      <dgm:spPr/>
    </dgm:pt>
    <dgm:pt modelId="{7A0695F4-4D56-45AA-9E48-D0B37DF0F277}" type="pres">
      <dgm:prSet presAssocID="{DFFDF4C8-23F7-4F20-86DA-248B8916FB58}" presName="compNode" presStyleCnt="0"/>
      <dgm:spPr/>
    </dgm:pt>
    <dgm:pt modelId="{0A2C2BD1-9304-4ACA-B2D0-DCC18C58D3C0}" type="pres">
      <dgm:prSet presAssocID="{DFFDF4C8-23F7-4F20-86DA-248B8916FB58}" presName="bkgdShape" presStyleLbl="node1" presStyleIdx="0" presStyleCnt="4"/>
      <dgm:spPr/>
      <dgm:t>
        <a:bodyPr/>
        <a:lstStyle/>
        <a:p>
          <a:endParaRPr lang="pt-PT"/>
        </a:p>
      </dgm:t>
    </dgm:pt>
    <dgm:pt modelId="{4CCA9D95-4C97-4ADF-AB4F-FF00CB7A24F9}" type="pres">
      <dgm:prSet presAssocID="{DFFDF4C8-23F7-4F20-86DA-248B8916FB58}" presName="nodeTx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AE229B63-E19B-4267-9DB2-2F3C44D6770B}" type="pres">
      <dgm:prSet presAssocID="{DFFDF4C8-23F7-4F20-86DA-248B8916FB58}" presName="invisiNode" presStyleLbl="node1" presStyleIdx="0" presStyleCnt="4"/>
      <dgm:spPr/>
    </dgm:pt>
    <dgm:pt modelId="{D55FA1EE-4608-4C24-84EA-9E0C1457FDA3}" type="pres">
      <dgm:prSet presAssocID="{DFFDF4C8-23F7-4F20-86DA-248B8916FB58}" presName="imagNode" presStyleLbl="fgImgPlace1" presStyleIdx="0" presStyleCnt="4"/>
      <dgm:spPr>
        <a:blipFill>
          <a:blip xmlns:r="http://schemas.openxmlformats.org/officeDocument/2006/relationships" r:embed="rId1">
            <a:duotone>
              <a:schemeClr val="accent2">
                <a:alpha val="90000"/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accent2">
                <a:alpha val="90000"/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  <a:extLst/>
          </a:blip>
          <a:srcRect/>
          <a:stretch>
            <a:fillRect l="-16000" r="-16000"/>
          </a:stretch>
        </a:blipFill>
      </dgm:spPr>
      <dgm:t>
        <a:bodyPr/>
        <a:lstStyle/>
        <a:p>
          <a:endParaRPr lang="pt-PT"/>
        </a:p>
      </dgm:t>
    </dgm:pt>
    <dgm:pt modelId="{6BFF3BB4-FC2B-49EE-BA97-947570D354EA}" type="pres">
      <dgm:prSet presAssocID="{AF6F0C43-060D-4F58-85C9-24117D5CBADE}" presName="sibTrans" presStyleLbl="sibTrans2D1" presStyleIdx="0" presStyleCnt="0"/>
      <dgm:spPr/>
      <dgm:t>
        <a:bodyPr/>
        <a:lstStyle/>
        <a:p>
          <a:endParaRPr lang="pt-PT"/>
        </a:p>
      </dgm:t>
    </dgm:pt>
    <dgm:pt modelId="{A2095ED0-71A8-43DB-BAD6-D31114C3137A}" type="pres">
      <dgm:prSet presAssocID="{AE49CA6D-4FEC-4588-9D32-38131C3DF3AF}" presName="compNode" presStyleCnt="0"/>
      <dgm:spPr/>
    </dgm:pt>
    <dgm:pt modelId="{25DA6644-D471-4A1E-B172-12302DA00C2A}" type="pres">
      <dgm:prSet presAssocID="{AE49CA6D-4FEC-4588-9D32-38131C3DF3AF}" presName="bkgdShape" presStyleLbl="node1" presStyleIdx="1" presStyleCnt="4"/>
      <dgm:spPr/>
      <dgm:t>
        <a:bodyPr/>
        <a:lstStyle/>
        <a:p>
          <a:endParaRPr lang="pt-PT"/>
        </a:p>
      </dgm:t>
    </dgm:pt>
    <dgm:pt modelId="{D693CFE2-09B5-424F-9D0B-5B0BED955B26}" type="pres">
      <dgm:prSet presAssocID="{AE49CA6D-4FEC-4588-9D32-38131C3DF3AF}" presName="nodeT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1A3C0649-8CBC-4F1C-8AD1-12F21C035199}" type="pres">
      <dgm:prSet presAssocID="{AE49CA6D-4FEC-4588-9D32-38131C3DF3AF}" presName="invisiNode" presStyleLbl="node1" presStyleIdx="1" presStyleCnt="4"/>
      <dgm:spPr/>
    </dgm:pt>
    <dgm:pt modelId="{E963BC70-0EB3-4BD8-BF23-AFF325DC6EC3}" type="pres">
      <dgm:prSet presAssocID="{AE49CA6D-4FEC-4588-9D32-38131C3DF3AF}" presName="imagNode" presStyleLbl="fgImgPlace1" presStyleIdx="1" presStyleCnt="4"/>
      <dgm:spPr>
        <a:blipFill>
          <a:blip xmlns:r="http://schemas.openxmlformats.org/officeDocument/2006/relationships" r:embed="rId2">
            <a:duotone>
              <a:schemeClr val="accent2">
                <a:alpha val="90000"/>
                <a:hueOff val="-1270"/>
                <a:satOff val="-910"/>
                <a:lumOff val="3730"/>
                <a:alphaOff val="-13333"/>
                <a:shade val="20000"/>
                <a:satMod val="200000"/>
              </a:schemeClr>
              <a:schemeClr val="accent2">
                <a:alpha val="90000"/>
                <a:hueOff val="-1270"/>
                <a:satOff val="-910"/>
                <a:lumOff val="3730"/>
                <a:alphaOff val="-13333"/>
                <a:tint val="12000"/>
                <a:satMod val="190000"/>
              </a:schemeClr>
            </a:duotone>
            <a:extLst/>
          </a:blip>
          <a:srcRect/>
          <a:stretch>
            <a:fillRect l="-25000" r="-25000"/>
          </a:stretch>
        </a:blipFill>
      </dgm:spPr>
      <dgm:t>
        <a:bodyPr/>
        <a:lstStyle/>
        <a:p>
          <a:endParaRPr lang="pt-PT"/>
        </a:p>
      </dgm:t>
    </dgm:pt>
    <dgm:pt modelId="{27F3E1D4-B8B5-4272-A379-2B20DF2D133E}" type="pres">
      <dgm:prSet presAssocID="{C9A11A51-4BCA-4024-995F-0A1F4B985B82}" presName="sibTrans" presStyleLbl="sibTrans2D1" presStyleIdx="0" presStyleCnt="0"/>
      <dgm:spPr/>
      <dgm:t>
        <a:bodyPr/>
        <a:lstStyle/>
        <a:p>
          <a:endParaRPr lang="pt-PT"/>
        </a:p>
      </dgm:t>
    </dgm:pt>
    <dgm:pt modelId="{7EBC57D1-344D-409F-9AAB-3E6C675FA4B6}" type="pres">
      <dgm:prSet presAssocID="{E9785CAE-E9AC-46DF-9086-673733499CC4}" presName="compNode" presStyleCnt="0"/>
      <dgm:spPr/>
    </dgm:pt>
    <dgm:pt modelId="{441CCD62-3B7D-483A-9D4A-52234BFBDB6C}" type="pres">
      <dgm:prSet presAssocID="{E9785CAE-E9AC-46DF-9086-673733499CC4}" presName="bkgdShape" presStyleLbl="node1" presStyleIdx="2" presStyleCnt="4"/>
      <dgm:spPr/>
      <dgm:t>
        <a:bodyPr/>
        <a:lstStyle/>
        <a:p>
          <a:endParaRPr lang="pt-PT"/>
        </a:p>
      </dgm:t>
    </dgm:pt>
    <dgm:pt modelId="{A20ADCA1-0C86-4D63-8300-F35557D5DDAF}" type="pres">
      <dgm:prSet presAssocID="{E9785CAE-E9AC-46DF-9086-673733499CC4}" presName="nodeT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742A439D-1E30-48C0-940A-B56AAAFB2B95}" type="pres">
      <dgm:prSet presAssocID="{E9785CAE-E9AC-46DF-9086-673733499CC4}" presName="invisiNode" presStyleLbl="node1" presStyleIdx="2" presStyleCnt="4"/>
      <dgm:spPr/>
    </dgm:pt>
    <dgm:pt modelId="{71330095-0516-42B6-951F-E7A8C6259666}" type="pres">
      <dgm:prSet presAssocID="{E9785CAE-E9AC-46DF-9086-673733499CC4}" presName="imagNode" presStyleLbl="fgImgPlace1" presStyleIdx="2" presStyleCnt="4"/>
      <dgm:spPr>
        <a:blipFill>
          <a:blip xmlns:r="http://schemas.openxmlformats.org/officeDocument/2006/relationships" r:embed="rId3">
            <a:duotone>
              <a:schemeClr val="accent2">
                <a:alpha val="90000"/>
                <a:hueOff val="-2539"/>
                <a:satOff val="-1819"/>
                <a:lumOff val="7461"/>
                <a:alphaOff val="-26667"/>
                <a:shade val="20000"/>
                <a:satMod val="200000"/>
              </a:schemeClr>
              <a:schemeClr val="accent2">
                <a:alpha val="90000"/>
                <a:hueOff val="-2539"/>
                <a:satOff val="-1819"/>
                <a:lumOff val="7461"/>
                <a:alphaOff val="-26667"/>
                <a:tint val="12000"/>
                <a:satMod val="190000"/>
              </a:schemeClr>
            </a:duotone>
            <a:extLst/>
          </a:blip>
          <a:srcRect/>
          <a:stretch>
            <a:fillRect l="-16000" r="-16000"/>
          </a:stretch>
        </a:blipFill>
      </dgm:spPr>
      <dgm:t>
        <a:bodyPr/>
        <a:lstStyle/>
        <a:p>
          <a:endParaRPr lang="pt-PT"/>
        </a:p>
      </dgm:t>
    </dgm:pt>
    <dgm:pt modelId="{4926EBF2-F355-48B3-A417-B92BBBC003E5}" type="pres">
      <dgm:prSet presAssocID="{72516EAD-1D25-49D3-8CBD-5B0A5F1B14C3}" presName="sibTrans" presStyleLbl="sibTrans2D1" presStyleIdx="0" presStyleCnt="0"/>
      <dgm:spPr/>
      <dgm:t>
        <a:bodyPr/>
        <a:lstStyle/>
        <a:p>
          <a:endParaRPr lang="pt-PT"/>
        </a:p>
      </dgm:t>
    </dgm:pt>
    <dgm:pt modelId="{D5214D58-D5E2-4D68-9B26-527ABDD6679B}" type="pres">
      <dgm:prSet presAssocID="{7C5E9939-189E-4F2F-86DE-72994597630E}" presName="compNode" presStyleCnt="0"/>
      <dgm:spPr/>
    </dgm:pt>
    <dgm:pt modelId="{99550F31-15FD-4EF1-801B-CAB0A5AC2664}" type="pres">
      <dgm:prSet presAssocID="{7C5E9939-189E-4F2F-86DE-72994597630E}" presName="bkgdShape" presStyleLbl="node1" presStyleIdx="3" presStyleCnt="4"/>
      <dgm:spPr/>
      <dgm:t>
        <a:bodyPr/>
        <a:lstStyle/>
        <a:p>
          <a:endParaRPr lang="pt-PT"/>
        </a:p>
      </dgm:t>
    </dgm:pt>
    <dgm:pt modelId="{FF4F8DDF-28F2-490F-9D51-3C41F509CCD9}" type="pres">
      <dgm:prSet presAssocID="{7C5E9939-189E-4F2F-86DE-72994597630E}" presName="nodeTx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8A01392C-613C-4B5C-BF4C-5F942200C345}" type="pres">
      <dgm:prSet presAssocID="{7C5E9939-189E-4F2F-86DE-72994597630E}" presName="invisiNode" presStyleLbl="node1" presStyleIdx="3" presStyleCnt="4"/>
      <dgm:spPr/>
    </dgm:pt>
    <dgm:pt modelId="{9D0906AE-E385-46E8-9D8B-C496173756A0}" type="pres">
      <dgm:prSet presAssocID="{7C5E9939-189E-4F2F-86DE-72994597630E}" presName="imagNode" presStyleLbl="fgImgPlace1" presStyleIdx="3" presStyleCnt="4"/>
      <dgm:spPr>
        <a:blipFill>
          <a:blip xmlns:r="http://schemas.openxmlformats.org/officeDocument/2006/relationships" r:embed="rId4">
            <a:duotone>
              <a:schemeClr val="accent2">
                <a:alpha val="90000"/>
                <a:hueOff val="-3809"/>
                <a:satOff val="-2729"/>
                <a:lumOff val="11191"/>
                <a:alphaOff val="-40000"/>
                <a:shade val="20000"/>
                <a:satMod val="200000"/>
              </a:schemeClr>
              <a:schemeClr val="accent2">
                <a:alpha val="90000"/>
                <a:hueOff val="-3809"/>
                <a:satOff val="-2729"/>
                <a:lumOff val="11191"/>
                <a:alphaOff val="-40000"/>
                <a:tint val="12000"/>
                <a:satMod val="190000"/>
              </a:schemeClr>
            </a:duotone>
            <a:extLst/>
          </a:blip>
          <a:srcRect/>
          <a:stretch>
            <a:fillRect l="-8000" r="-8000"/>
          </a:stretch>
        </a:blipFill>
      </dgm:spPr>
      <dgm:t>
        <a:bodyPr/>
        <a:lstStyle/>
        <a:p>
          <a:endParaRPr lang="pt-PT"/>
        </a:p>
      </dgm:t>
    </dgm:pt>
  </dgm:ptLst>
  <dgm:cxnLst>
    <dgm:cxn modelId="{AF3B8A42-B5C6-41CE-AFFA-01F2C80393D2}" type="presOf" srcId="{DFFDF4C8-23F7-4F20-86DA-248B8916FB58}" destId="{4CCA9D95-4C97-4ADF-AB4F-FF00CB7A24F9}" srcOrd="1" destOrd="0" presId="urn:microsoft.com/office/officeart/2005/8/layout/hList7"/>
    <dgm:cxn modelId="{7B88C71C-FAC5-4624-B76B-8E52299CEC4B}" type="presOf" srcId="{E9785CAE-E9AC-46DF-9086-673733499CC4}" destId="{441CCD62-3B7D-483A-9D4A-52234BFBDB6C}" srcOrd="0" destOrd="0" presId="urn:microsoft.com/office/officeart/2005/8/layout/hList7"/>
    <dgm:cxn modelId="{2B2DF79B-0242-4A78-89B1-34033AFFF318}" type="presOf" srcId="{C9A11A51-4BCA-4024-995F-0A1F4B985B82}" destId="{27F3E1D4-B8B5-4272-A379-2B20DF2D133E}" srcOrd="0" destOrd="0" presId="urn:microsoft.com/office/officeart/2005/8/layout/hList7"/>
    <dgm:cxn modelId="{E216EE3B-23FB-4785-A858-95818B3F913D}" type="presOf" srcId="{E14FBBEF-D893-4C04-87FC-BA9AED97A429}" destId="{49A04785-855F-491F-A9FA-7BE389B4ED46}" srcOrd="0" destOrd="0" presId="urn:microsoft.com/office/officeart/2005/8/layout/hList7"/>
    <dgm:cxn modelId="{A087DDA4-8573-4EDA-9715-CEDA46F080BA}" type="presOf" srcId="{DFFDF4C8-23F7-4F20-86DA-248B8916FB58}" destId="{0A2C2BD1-9304-4ACA-B2D0-DCC18C58D3C0}" srcOrd="0" destOrd="0" presId="urn:microsoft.com/office/officeart/2005/8/layout/hList7"/>
    <dgm:cxn modelId="{95FC42F5-1390-44D9-95D3-3BE111812981}" srcId="{E14FBBEF-D893-4C04-87FC-BA9AED97A429}" destId="{E9785CAE-E9AC-46DF-9086-673733499CC4}" srcOrd="2" destOrd="0" parTransId="{A383A50C-787A-418E-AF5F-D64A1BCC7C82}" sibTransId="{72516EAD-1D25-49D3-8CBD-5B0A5F1B14C3}"/>
    <dgm:cxn modelId="{40396AD3-2DFE-40FB-8C51-DFC5F4445689}" srcId="{E14FBBEF-D893-4C04-87FC-BA9AED97A429}" destId="{AE49CA6D-4FEC-4588-9D32-38131C3DF3AF}" srcOrd="1" destOrd="0" parTransId="{FCF4BB40-2AB6-4FA1-9A29-EEDB8A1EC97D}" sibTransId="{C9A11A51-4BCA-4024-995F-0A1F4B985B82}"/>
    <dgm:cxn modelId="{802AF344-2516-4113-8618-7C9ACB2E36D3}" type="presOf" srcId="{AE49CA6D-4FEC-4588-9D32-38131C3DF3AF}" destId="{D693CFE2-09B5-424F-9D0B-5B0BED955B26}" srcOrd="1" destOrd="0" presId="urn:microsoft.com/office/officeart/2005/8/layout/hList7"/>
    <dgm:cxn modelId="{3A0FA390-03A1-4A94-80A3-17D24EFCFD0D}" type="presOf" srcId="{7C5E9939-189E-4F2F-86DE-72994597630E}" destId="{99550F31-15FD-4EF1-801B-CAB0A5AC2664}" srcOrd="0" destOrd="0" presId="urn:microsoft.com/office/officeart/2005/8/layout/hList7"/>
    <dgm:cxn modelId="{F3137057-2754-4666-ADFE-7B607173C0DE}" srcId="{E14FBBEF-D893-4C04-87FC-BA9AED97A429}" destId="{DFFDF4C8-23F7-4F20-86DA-248B8916FB58}" srcOrd="0" destOrd="0" parTransId="{89068833-AD98-41DB-90CA-CB0B4ADEE1E6}" sibTransId="{AF6F0C43-060D-4F58-85C9-24117D5CBADE}"/>
    <dgm:cxn modelId="{761E03AA-9752-441A-8FFE-D055C4164B6B}" type="presOf" srcId="{AF6F0C43-060D-4F58-85C9-24117D5CBADE}" destId="{6BFF3BB4-FC2B-49EE-BA97-947570D354EA}" srcOrd="0" destOrd="0" presId="urn:microsoft.com/office/officeart/2005/8/layout/hList7"/>
    <dgm:cxn modelId="{0B4B34DD-948E-4674-8D0A-A608BDBB91C0}" type="presOf" srcId="{7C5E9939-189E-4F2F-86DE-72994597630E}" destId="{FF4F8DDF-28F2-490F-9D51-3C41F509CCD9}" srcOrd="1" destOrd="0" presId="urn:microsoft.com/office/officeart/2005/8/layout/hList7"/>
    <dgm:cxn modelId="{F63B8992-6991-4E3A-804F-076B328FC8E6}" type="presOf" srcId="{72516EAD-1D25-49D3-8CBD-5B0A5F1B14C3}" destId="{4926EBF2-F355-48B3-A417-B92BBBC003E5}" srcOrd="0" destOrd="0" presId="urn:microsoft.com/office/officeart/2005/8/layout/hList7"/>
    <dgm:cxn modelId="{AE8B9C6E-9896-4A07-9EF1-F83B2265EB64}" type="presOf" srcId="{AE49CA6D-4FEC-4588-9D32-38131C3DF3AF}" destId="{25DA6644-D471-4A1E-B172-12302DA00C2A}" srcOrd="0" destOrd="0" presId="urn:microsoft.com/office/officeart/2005/8/layout/hList7"/>
    <dgm:cxn modelId="{6C6279C2-98F7-4289-ADE1-2D851B0124F5}" srcId="{E14FBBEF-D893-4C04-87FC-BA9AED97A429}" destId="{7C5E9939-189E-4F2F-86DE-72994597630E}" srcOrd="3" destOrd="0" parTransId="{BB7DECF9-CBB0-41CD-8306-C599ADEFCD9D}" sibTransId="{0B908EBE-9E30-4923-9F8A-1C3B3B21B54C}"/>
    <dgm:cxn modelId="{D7C906C3-1767-4951-969C-DD7FD69AA32F}" type="presOf" srcId="{E9785CAE-E9AC-46DF-9086-673733499CC4}" destId="{A20ADCA1-0C86-4D63-8300-F35557D5DDAF}" srcOrd="1" destOrd="0" presId="urn:microsoft.com/office/officeart/2005/8/layout/hList7"/>
    <dgm:cxn modelId="{6E7DAB57-0906-4D18-A580-B5C88276286F}" type="presParOf" srcId="{49A04785-855F-491F-A9FA-7BE389B4ED46}" destId="{A3BFD760-CE4F-4082-B876-9F566CE709C2}" srcOrd="0" destOrd="0" presId="urn:microsoft.com/office/officeart/2005/8/layout/hList7"/>
    <dgm:cxn modelId="{2C768634-D52C-41D2-9B6D-C1E847503D03}" type="presParOf" srcId="{49A04785-855F-491F-A9FA-7BE389B4ED46}" destId="{2C2A1D75-91B1-4FC6-BFEF-B7273764B609}" srcOrd="1" destOrd="0" presId="urn:microsoft.com/office/officeart/2005/8/layout/hList7"/>
    <dgm:cxn modelId="{109B3835-31B4-4BC4-85BB-A2417ACBE0D3}" type="presParOf" srcId="{2C2A1D75-91B1-4FC6-BFEF-B7273764B609}" destId="{7A0695F4-4D56-45AA-9E48-D0B37DF0F277}" srcOrd="0" destOrd="0" presId="urn:microsoft.com/office/officeart/2005/8/layout/hList7"/>
    <dgm:cxn modelId="{598CC72B-6C40-456C-B3A9-EC73C1F9AB7F}" type="presParOf" srcId="{7A0695F4-4D56-45AA-9E48-D0B37DF0F277}" destId="{0A2C2BD1-9304-4ACA-B2D0-DCC18C58D3C0}" srcOrd="0" destOrd="0" presId="urn:microsoft.com/office/officeart/2005/8/layout/hList7"/>
    <dgm:cxn modelId="{40D34659-705A-43A9-969F-DE06F7F80819}" type="presParOf" srcId="{7A0695F4-4D56-45AA-9E48-D0B37DF0F277}" destId="{4CCA9D95-4C97-4ADF-AB4F-FF00CB7A24F9}" srcOrd="1" destOrd="0" presId="urn:microsoft.com/office/officeart/2005/8/layout/hList7"/>
    <dgm:cxn modelId="{DF495A94-8943-46A2-8339-F5DB65E0A5EB}" type="presParOf" srcId="{7A0695F4-4D56-45AA-9E48-D0B37DF0F277}" destId="{AE229B63-E19B-4267-9DB2-2F3C44D6770B}" srcOrd="2" destOrd="0" presId="urn:microsoft.com/office/officeart/2005/8/layout/hList7"/>
    <dgm:cxn modelId="{5A35B699-19AE-4E9F-8478-67459FBC3012}" type="presParOf" srcId="{7A0695F4-4D56-45AA-9E48-D0B37DF0F277}" destId="{D55FA1EE-4608-4C24-84EA-9E0C1457FDA3}" srcOrd="3" destOrd="0" presId="urn:microsoft.com/office/officeart/2005/8/layout/hList7"/>
    <dgm:cxn modelId="{285095D7-4826-4E08-8BC4-E8908F395241}" type="presParOf" srcId="{2C2A1D75-91B1-4FC6-BFEF-B7273764B609}" destId="{6BFF3BB4-FC2B-49EE-BA97-947570D354EA}" srcOrd="1" destOrd="0" presId="urn:microsoft.com/office/officeart/2005/8/layout/hList7"/>
    <dgm:cxn modelId="{CE90DDEA-9361-4842-968C-8734B9B6DA29}" type="presParOf" srcId="{2C2A1D75-91B1-4FC6-BFEF-B7273764B609}" destId="{A2095ED0-71A8-43DB-BAD6-D31114C3137A}" srcOrd="2" destOrd="0" presId="urn:microsoft.com/office/officeart/2005/8/layout/hList7"/>
    <dgm:cxn modelId="{3C6B39F6-CC63-4944-99EA-B68CAF93B2F3}" type="presParOf" srcId="{A2095ED0-71A8-43DB-BAD6-D31114C3137A}" destId="{25DA6644-D471-4A1E-B172-12302DA00C2A}" srcOrd="0" destOrd="0" presId="urn:microsoft.com/office/officeart/2005/8/layout/hList7"/>
    <dgm:cxn modelId="{6EC75874-D9B3-4FD5-8005-EBDC7069F687}" type="presParOf" srcId="{A2095ED0-71A8-43DB-BAD6-D31114C3137A}" destId="{D693CFE2-09B5-424F-9D0B-5B0BED955B26}" srcOrd="1" destOrd="0" presId="urn:microsoft.com/office/officeart/2005/8/layout/hList7"/>
    <dgm:cxn modelId="{0798D4B2-ED64-4CAD-8BD8-1C8D23DD4192}" type="presParOf" srcId="{A2095ED0-71A8-43DB-BAD6-D31114C3137A}" destId="{1A3C0649-8CBC-4F1C-8AD1-12F21C035199}" srcOrd="2" destOrd="0" presId="urn:microsoft.com/office/officeart/2005/8/layout/hList7"/>
    <dgm:cxn modelId="{F3ED06B8-EDF5-47D1-94F0-B4846F345116}" type="presParOf" srcId="{A2095ED0-71A8-43DB-BAD6-D31114C3137A}" destId="{E963BC70-0EB3-4BD8-BF23-AFF325DC6EC3}" srcOrd="3" destOrd="0" presId="urn:microsoft.com/office/officeart/2005/8/layout/hList7"/>
    <dgm:cxn modelId="{1E6C7618-9B0B-48C4-8D87-78EEEB0E2CB6}" type="presParOf" srcId="{2C2A1D75-91B1-4FC6-BFEF-B7273764B609}" destId="{27F3E1D4-B8B5-4272-A379-2B20DF2D133E}" srcOrd="3" destOrd="0" presId="urn:microsoft.com/office/officeart/2005/8/layout/hList7"/>
    <dgm:cxn modelId="{C2F4E4BB-B4A0-43FA-A09C-9A8D2D05914F}" type="presParOf" srcId="{2C2A1D75-91B1-4FC6-BFEF-B7273764B609}" destId="{7EBC57D1-344D-409F-9AAB-3E6C675FA4B6}" srcOrd="4" destOrd="0" presId="urn:microsoft.com/office/officeart/2005/8/layout/hList7"/>
    <dgm:cxn modelId="{CBEDC141-E843-424B-B636-9F4C94593A91}" type="presParOf" srcId="{7EBC57D1-344D-409F-9AAB-3E6C675FA4B6}" destId="{441CCD62-3B7D-483A-9D4A-52234BFBDB6C}" srcOrd="0" destOrd="0" presId="urn:microsoft.com/office/officeart/2005/8/layout/hList7"/>
    <dgm:cxn modelId="{440FEC66-C55C-4056-923E-862A61870494}" type="presParOf" srcId="{7EBC57D1-344D-409F-9AAB-3E6C675FA4B6}" destId="{A20ADCA1-0C86-4D63-8300-F35557D5DDAF}" srcOrd="1" destOrd="0" presId="urn:microsoft.com/office/officeart/2005/8/layout/hList7"/>
    <dgm:cxn modelId="{A620B955-2C05-43C9-B375-37B258ED4390}" type="presParOf" srcId="{7EBC57D1-344D-409F-9AAB-3E6C675FA4B6}" destId="{742A439D-1E30-48C0-940A-B56AAAFB2B95}" srcOrd="2" destOrd="0" presId="urn:microsoft.com/office/officeart/2005/8/layout/hList7"/>
    <dgm:cxn modelId="{D8EDF1F8-E209-44DF-AACA-1A3839010E04}" type="presParOf" srcId="{7EBC57D1-344D-409F-9AAB-3E6C675FA4B6}" destId="{71330095-0516-42B6-951F-E7A8C6259666}" srcOrd="3" destOrd="0" presId="urn:microsoft.com/office/officeart/2005/8/layout/hList7"/>
    <dgm:cxn modelId="{E1CA301C-E1CD-4BDB-960B-2F50B5053D02}" type="presParOf" srcId="{2C2A1D75-91B1-4FC6-BFEF-B7273764B609}" destId="{4926EBF2-F355-48B3-A417-B92BBBC003E5}" srcOrd="5" destOrd="0" presId="urn:microsoft.com/office/officeart/2005/8/layout/hList7"/>
    <dgm:cxn modelId="{9F37833B-902F-4B64-80C4-AB381AF50870}" type="presParOf" srcId="{2C2A1D75-91B1-4FC6-BFEF-B7273764B609}" destId="{D5214D58-D5E2-4D68-9B26-527ABDD6679B}" srcOrd="6" destOrd="0" presId="urn:microsoft.com/office/officeart/2005/8/layout/hList7"/>
    <dgm:cxn modelId="{A4AE7743-CEF3-410D-8375-1049E1C0EB5C}" type="presParOf" srcId="{D5214D58-D5E2-4D68-9B26-527ABDD6679B}" destId="{99550F31-15FD-4EF1-801B-CAB0A5AC2664}" srcOrd="0" destOrd="0" presId="urn:microsoft.com/office/officeart/2005/8/layout/hList7"/>
    <dgm:cxn modelId="{0BCA45A0-ED94-47EB-9E17-A71285B68B27}" type="presParOf" srcId="{D5214D58-D5E2-4D68-9B26-527ABDD6679B}" destId="{FF4F8DDF-28F2-490F-9D51-3C41F509CCD9}" srcOrd="1" destOrd="0" presId="urn:microsoft.com/office/officeart/2005/8/layout/hList7"/>
    <dgm:cxn modelId="{5E6838CF-43A1-463D-8995-30CA81A64AAC}" type="presParOf" srcId="{D5214D58-D5E2-4D68-9B26-527ABDD6679B}" destId="{8A01392C-613C-4B5C-BF4C-5F942200C345}" srcOrd="2" destOrd="0" presId="urn:microsoft.com/office/officeart/2005/8/layout/hList7"/>
    <dgm:cxn modelId="{2A6FDA0E-CF2E-4EE1-98BC-F43B62532DD9}" type="presParOf" srcId="{D5214D58-D5E2-4D68-9B26-527ABDD6679B}" destId="{9D0906AE-E385-46E8-9D8B-C496173756A0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14FBBEF-D893-4C04-87FC-BA9AED97A429}" type="doc">
      <dgm:prSet loTypeId="urn:microsoft.com/office/officeart/2005/8/layout/hProcess9" loCatId="process" qsTypeId="urn:microsoft.com/office/officeart/2005/8/quickstyle/simple1#2" qsCatId="simple" csTypeId="urn:microsoft.com/office/officeart/2005/8/colors/accent2_5" csCatId="accent2" phldr="1"/>
      <dgm:spPr/>
      <dgm:t>
        <a:bodyPr/>
        <a:lstStyle/>
        <a:p>
          <a:endParaRPr lang="pt-PT"/>
        </a:p>
      </dgm:t>
    </dgm:pt>
    <dgm:pt modelId="{DFFDF4C8-23F7-4F20-86DA-248B8916FB58}">
      <dgm:prSet/>
      <dgm:spPr/>
      <dgm:t>
        <a:bodyPr/>
        <a:lstStyle/>
        <a:p>
          <a:pPr rtl="0"/>
          <a:r>
            <a:rPr lang="pt-PT" dirty="0" smtClean="0">
              <a:latin typeface="Arial" pitchFamily="34" charset="0"/>
              <a:cs typeface="Arial" pitchFamily="34" charset="0"/>
            </a:rPr>
            <a:t>NATUREZA INOVADORA DOS PROJETOS 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89068833-AD98-41DB-90CA-CB0B4ADEE1E6}" type="parTrans" cxnId="{F3137057-2754-4666-ADFE-7B607173C0DE}">
      <dgm:prSet/>
      <dgm:spPr/>
      <dgm:t>
        <a:bodyPr/>
        <a:lstStyle/>
        <a:p>
          <a:endParaRPr lang="pt-PT"/>
        </a:p>
      </dgm:t>
    </dgm:pt>
    <dgm:pt modelId="{AF6F0C43-060D-4F58-85C9-24117D5CBADE}" type="sibTrans" cxnId="{F3137057-2754-4666-ADFE-7B607173C0DE}">
      <dgm:prSet/>
      <dgm:spPr/>
      <dgm:t>
        <a:bodyPr/>
        <a:lstStyle/>
        <a:p>
          <a:endParaRPr lang="pt-PT"/>
        </a:p>
      </dgm:t>
    </dgm:pt>
    <dgm:pt modelId="{E9785CAE-E9AC-46DF-9086-673733499CC4}">
      <dgm:prSet/>
      <dgm:spPr/>
      <dgm:t>
        <a:bodyPr/>
        <a:lstStyle/>
        <a:p>
          <a:pPr rtl="0"/>
          <a:r>
            <a:rPr lang="pt-PT" dirty="0" smtClean="0">
              <a:latin typeface="Arial" pitchFamily="34" charset="0"/>
              <a:cs typeface="Arial" pitchFamily="34" charset="0"/>
            </a:rPr>
            <a:t>VALOR GERADO PELA EMPRESA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A383A50C-787A-418E-AF5F-D64A1BCC7C82}" type="parTrans" cxnId="{95FC42F5-1390-44D9-95D3-3BE111812981}">
      <dgm:prSet/>
      <dgm:spPr/>
      <dgm:t>
        <a:bodyPr/>
        <a:lstStyle/>
        <a:p>
          <a:endParaRPr lang="pt-PT"/>
        </a:p>
      </dgm:t>
    </dgm:pt>
    <dgm:pt modelId="{72516EAD-1D25-49D3-8CBD-5B0A5F1B14C3}" type="sibTrans" cxnId="{95FC42F5-1390-44D9-95D3-3BE111812981}">
      <dgm:prSet/>
      <dgm:spPr/>
      <dgm:t>
        <a:bodyPr/>
        <a:lstStyle/>
        <a:p>
          <a:endParaRPr lang="pt-PT"/>
        </a:p>
      </dgm:t>
    </dgm:pt>
    <dgm:pt modelId="{7C5E9939-189E-4F2F-86DE-72994597630E}">
      <dgm:prSet/>
      <dgm:spPr/>
      <dgm:t>
        <a:bodyPr/>
        <a:lstStyle/>
        <a:p>
          <a:pPr rtl="0"/>
          <a:r>
            <a:rPr lang="pt-PT" dirty="0" smtClean="0">
              <a:latin typeface="Arial" pitchFamily="34" charset="0"/>
              <a:cs typeface="Arial" pitchFamily="34" charset="0"/>
            </a:rPr>
            <a:t>CRIAÇÃO DE EMPREGO 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BB7DECF9-CBB0-41CD-8306-C599ADEFCD9D}" type="parTrans" cxnId="{6C6279C2-98F7-4289-ADE1-2D851B0124F5}">
      <dgm:prSet/>
      <dgm:spPr/>
      <dgm:t>
        <a:bodyPr/>
        <a:lstStyle/>
        <a:p>
          <a:endParaRPr lang="pt-PT"/>
        </a:p>
      </dgm:t>
    </dgm:pt>
    <dgm:pt modelId="{0B908EBE-9E30-4923-9F8A-1C3B3B21B54C}" type="sibTrans" cxnId="{6C6279C2-98F7-4289-ADE1-2D851B0124F5}">
      <dgm:prSet/>
      <dgm:spPr/>
      <dgm:t>
        <a:bodyPr/>
        <a:lstStyle/>
        <a:p>
          <a:endParaRPr lang="pt-PT"/>
        </a:p>
      </dgm:t>
    </dgm:pt>
    <dgm:pt modelId="{AE49CA6D-4FEC-4588-9D32-38131C3DF3AF}">
      <dgm:prSet/>
      <dgm:spPr/>
      <dgm:t>
        <a:bodyPr/>
        <a:lstStyle/>
        <a:p>
          <a:pPr rtl="0"/>
          <a:r>
            <a:rPr lang="pt-PT" dirty="0" smtClean="0">
              <a:latin typeface="Arial" pitchFamily="34" charset="0"/>
              <a:cs typeface="Arial" pitchFamily="34" charset="0"/>
            </a:rPr>
            <a:t>FORTE COMPONENTE EXPORTADORA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FCF4BB40-2AB6-4FA1-9A29-EEDB8A1EC97D}" type="parTrans" cxnId="{40396AD3-2DFE-40FB-8C51-DFC5F4445689}">
      <dgm:prSet/>
      <dgm:spPr/>
      <dgm:t>
        <a:bodyPr/>
        <a:lstStyle/>
        <a:p>
          <a:endParaRPr lang="pt-PT"/>
        </a:p>
      </dgm:t>
    </dgm:pt>
    <dgm:pt modelId="{C9A11A51-4BCA-4024-995F-0A1F4B985B82}" type="sibTrans" cxnId="{40396AD3-2DFE-40FB-8C51-DFC5F4445689}">
      <dgm:prSet/>
      <dgm:spPr/>
      <dgm:t>
        <a:bodyPr/>
        <a:lstStyle/>
        <a:p>
          <a:endParaRPr lang="pt-PT"/>
        </a:p>
      </dgm:t>
    </dgm:pt>
    <dgm:pt modelId="{9AD42554-2954-46A1-A8B5-EE1B9EEFB697}" type="pres">
      <dgm:prSet presAssocID="{E14FBBEF-D893-4C04-87FC-BA9AED97A429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6E9CC159-148E-45AE-9F42-C681953B6A48}" type="pres">
      <dgm:prSet presAssocID="{E14FBBEF-D893-4C04-87FC-BA9AED97A429}" presName="arrow" presStyleLbl="bgShp" presStyleIdx="0" presStyleCnt="1"/>
      <dgm:spPr/>
    </dgm:pt>
    <dgm:pt modelId="{1218D41A-415F-4702-A29B-5CBE7DCC3914}" type="pres">
      <dgm:prSet presAssocID="{E14FBBEF-D893-4C04-87FC-BA9AED97A429}" presName="linearProcess" presStyleCnt="0"/>
      <dgm:spPr/>
    </dgm:pt>
    <dgm:pt modelId="{E77DDDB6-040B-45BA-83F5-D21766C727EB}" type="pres">
      <dgm:prSet presAssocID="{DFFDF4C8-23F7-4F20-86DA-248B8916FB58}" presName="tex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8AEF371E-533B-4CCD-A853-AD687CB3F893}" type="pres">
      <dgm:prSet presAssocID="{AF6F0C43-060D-4F58-85C9-24117D5CBADE}" presName="sibTrans" presStyleCnt="0"/>
      <dgm:spPr/>
    </dgm:pt>
    <dgm:pt modelId="{174B62AF-9AE1-4505-9672-873851DC0FDF}" type="pres">
      <dgm:prSet presAssocID="{AE49CA6D-4FEC-4588-9D32-38131C3DF3AF}" presName="text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AEFDF373-D50E-411C-A434-92BAEC35A713}" type="pres">
      <dgm:prSet presAssocID="{C9A11A51-4BCA-4024-995F-0A1F4B985B82}" presName="sibTrans" presStyleCnt="0"/>
      <dgm:spPr/>
    </dgm:pt>
    <dgm:pt modelId="{3FA9821F-789C-4779-8052-FC7FEB0AECED}" type="pres">
      <dgm:prSet presAssocID="{E9785CAE-E9AC-46DF-9086-673733499CC4}" presName="text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82044CAC-1D13-486B-84AF-445B0D665C6D}" type="pres">
      <dgm:prSet presAssocID="{72516EAD-1D25-49D3-8CBD-5B0A5F1B14C3}" presName="sibTrans" presStyleCnt="0"/>
      <dgm:spPr/>
    </dgm:pt>
    <dgm:pt modelId="{387B1252-047D-46FA-9207-CB5BA7D2B203}" type="pres">
      <dgm:prSet presAssocID="{7C5E9939-189E-4F2F-86DE-72994597630E}" presName="text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95FC42F5-1390-44D9-95D3-3BE111812981}" srcId="{E14FBBEF-D893-4C04-87FC-BA9AED97A429}" destId="{E9785CAE-E9AC-46DF-9086-673733499CC4}" srcOrd="2" destOrd="0" parTransId="{A383A50C-787A-418E-AF5F-D64A1BCC7C82}" sibTransId="{72516EAD-1D25-49D3-8CBD-5B0A5F1B14C3}"/>
    <dgm:cxn modelId="{40396AD3-2DFE-40FB-8C51-DFC5F4445689}" srcId="{E14FBBEF-D893-4C04-87FC-BA9AED97A429}" destId="{AE49CA6D-4FEC-4588-9D32-38131C3DF3AF}" srcOrd="1" destOrd="0" parTransId="{FCF4BB40-2AB6-4FA1-9A29-EEDB8A1EC97D}" sibTransId="{C9A11A51-4BCA-4024-995F-0A1F4B985B82}"/>
    <dgm:cxn modelId="{6C183233-1C42-4F77-B5AB-61A99BFEB255}" type="presOf" srcId="{DFFDF4C8-23F7-4F20-86DA-248B8916FB58}" destId="{E77DDDB6-040B-45BA-83F5-D21766C727EB}" srcOrd="0" destOrd="0" presId="urn:microsoft.com/office/officeart/2005/8/layout/hProcess9"/>
    <dgm:cxn modelId="{DC4E47C1-074D-485F-BC46-AFEFBFEC595C}" type="presOf" srcId="{E14FBBEF-D893-4C04-87FC-BA9AED97A429}" destId="{9AD42554-2954-46A1-A8B5-EE1B9EEFB697}" srcOrd="0" destOrd="0" presId="urn:microsoft.com/office/officeart/2005/8/layout/hProcess9"/>
    <dgm:cxn modelId="{504163B7-69D7-478E-823E-61FB22A61878}" type="presOf" srcId="{AE49CA6D-4FEC-4588-9D32-38131C3DF3AF}" destId="{174B62AF-9AE1-4505-9672-873851DC0FDF}" srcOrd="0" destOrd="0" presId="urn:microsoft.com/office/officeart/2005/8/layout/hProcess9"/>
    <dgm:cxn modelId="{698B5E2A-2469-478C-BA43-6A8543D44CC7}" type="presOf" srcId="{7C5E9939-189E-4F2F-86DE-72994597630E}" destId="{387B1252-047D-46FA-9207-CB5BA7D2B203}" srcOrd="0" destOrd="0" presId="urn:microsoft.com/office/officeart/2005/8/layout/hProcess9"/>
    <dgm:cxn modelId="{F3137057-2754-4666-ADFE-7B607173C0DE}" srcId="{E14FBBEF-D893-4C04-87FC-BA9AED97A429}" destId="{DFFDF4C8-23F7-4F20-86DA-248B8916FB58}" srcOrd="0" destOrd="0" parTransId="{89068833-AD98-41DB-90CA-CB0B4ADEE1E6}" sibTransId="{AF6F0C43-060D-4F58-85C9-24117D5CBADE}"/>
    <dgm:cxn modelId="{6C6279C2-98F7-4289-ADE1-2D851B0124F5}" srcId="{E14FBBEF-D893-4C04-87FC-BA9AED97A429}" destId="{7C5E9939-189E-4F2F-86DE-72994597630E}" srcOrd="3" destOrd="0" parTransId="{BB7DECF9-CBB0-41CD-8306-C599ADEFCD9D}" sibTransId="{0B908EBE-9E30-4923-9F8A-1C3B3B21B54C}"/>
    <dgm:cxn modelId="{0DC5D2B7-3B90-4893-92E2-F38D28AA812E}" type="presOf" srcId="{E9785CAE-E9AC-46DF-9086-673733499CC4}" destId="{3FA9821F-789C-4779-8052-FC7FEB0AECED}" srcOrd="0" destOrd="0" presId="urn:microsoft.com/office/officeart/2005/8/layout/hProcess9"/>
    <dgm:cxn modelId="{D14E3C1B-C7FC-4196-831B-37EC4998AFB4}" type="presParOf" srcId="{9AD42554-2954-46A1-A8B5-EE1B9EEFB697}" destId="{6E9CC159-148E-45AE-9F42-C681953B6A48}" srcOrd="0" destOrd="0" presId="urn:microsoft.com/office/officeart/2005/8/layout/hProcess9"/>
    <dgm:cxn modelId="{6F7EDAA7-FCCE-4825-8C0B-B35611A293C8}" type="presParOf" srcId="{9AD42554-2954-46A1-A8B5-EE1B9EEFB697}" destId="{1218D41A-415F-4702-A29B-5CBE7DCC3914}" srcOrd="1" destOrd="0" presId="urn:microsoft.com/office/officeart/2005/8/layout/hProcess9"/>
    <dgm:cxn modelId="{0F58F8BF-234B-41A2-B20C-16BF3C69A54E}" type="presParOf" srcId="{1218D41A-415F-4702-A29B-5CBE7DCC3914}" destId="{E77DDDB6-040B-45BA-83F5-D21766C727EB}" srcOrd="0" destOrd="0" presId="urn:microsoft.com/office/officeart/2005/8/layout/hProcess9"/>
    <dgm:cxn modelId="{4BE1CD02-4B57-4FC4-BC1D-BAB69D808A1F}" type="presParOf" srcId="{1218D41A-415F-4702-A29B-5CBE7DCC3914}" destId="{8AEF371E-533B-4CCD-A853-AD687CB3F893}" srcOrd="1" destOrd="0" presId="urn:microsoft.com/office/officeart/2005/8/layout/hProcess9"/>
    <dgm:cxn modelId="{D61528DB-DADE-40DE-BDA1-58CB60839C9D}" type="presParOf" srcId="{1218D41A-415F-4702-A29B-5CBE7DCC3914}" destId="{174B62AF-9AE1-4505-9672-873851DC0FDF}" srcOrd="2" destOrd="0" presId="urn:microsoft.com/office/officeart/2005/8/layout/hProcess9"/>
    <dgm:cxn modelId="{FD30C629-A555-4CF4-8BA1-95D843255AD8}" type="presParOf" srcId="{1218D41A-415F-4702-A29B-5CBE7DCC3914}" destId="{AEFDF373-D50E-411C-A434-92BAEC35A713}" srcOrd="3" destOrd="0" presId="urn:microsoft.com/office/officeart/2005/8/layout/hProcess9"/>
    <dgm:cxn modelId="{079C3CF9-28DC-4D64-934D-FD94E7E20DAC}" type="presParOf" srcId="{1218D41A-415F-4702-A29B-5CBE7DCC3914}" destId="{3FA9821F-789C-4779-8052-FC7FEB0AECED}" srcOrd="4" destOrd="0" presId="urn:microsoft.com/office/officeart/2005/8/layout/hProcess9"/>
    <dgm:cxn modelId="{EC5AFB2F-CED7-4BEE-BBCA-55DC0E5FFB98}" type="presParOf" srcId="{1218D41A-415F-4702-A29B-5CBE7DCC3914}" destId="{82044CAC-1D13-486B-84AF-445B0D665C6D}" srcOrd="5" destOrd="0" presId="urn:microsoft.com/office/officeart/2005/8/layout/hProcess9"/>
    <dgm:cxn modelId="{88BF602B-9ADA-49D3-BA22-9406E05D6634}" type="presParOf" srcId="{1218D41A-415F-4702-A29B-5CBE7DCC3914}" destId="{387B1252-047D-46FA-9207-CB5BA7D2B203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14FBBEF-D893-4C04-87FC-BA9AED97A429}" type="doc">
      <dgm:prSet loTypeId="urn:microsoft.com/office/officeart/2005/8/layout/matrix1" loCatId="matrix" qsTypeId="urn:microsoft.com/office/officeart/2005/8/quickstyle/simple1#3" qsCatId="simple" csTypeId="urn:microsoft.com/office/officeart/2005/8/colors/accent2_5" csCatId="accent2" phldr="1"/>
      <dgm:spPr/>
      <dgm:t>
        <a:bodyPr/>
        <a:lstStyle/>
        <a:p>
          <a:endParaRPr lang="pt-PT"/>
        </a:p>
      </dgm:t>
    </dgm:pt>
    <dgm:pt modelId="{4585E753-D177-4E4F-9B06-181B48C7BA83}">
      <dgm:prSet custT="1"/>
      <dgm:spPr/>
      <dgm:t>
        <a:bodyPr/>
        <a:lstStyle/>
        <a:p>
          <a:r>
            <a:rPr lang="pt-PT" sz="2000" dirty="0" smtClean="0">
              <a:latin typeface="Arial" pitchFamily="34" charset="0"/>
              <a:cs typeface="Arial" pitchFamily="34" charset="0"/>
            </a:rPr>
            <a:t>INCENTIVO </a:t>
          </a:r>
        </a:p>
        <a:p>
          <a:r>
            <a:rPr lang="pt-PT" sz="2000" dirty="0" smtClean="0">
              <a:latin typeface="Arial" pitchFamily="34" charset="0"/>
              <a:cs typeface="Arial" pitchFamily="34" charset="0"/>
            </a:rPr>
            <a:t>REEMBOLSÁVEL</a:t>
          </a:r>
          <a:endParaRPr lang="pt-PT" sz="2000" dirty="0">
            <a:latin typeface="Arial" pitchFamily="34" charset="0"/>
            <a:cs typeface="Arial" pitchFamily="34" charset="0"/>
          </a:endParaRPr>
        </a:p>
      </dgm:t>
    </dgm:pt>
    <dgm:pt modelId="{0859D9C3-D577-4526-9789-F13262209745}" type="parTrans" cxnId="{098FAD07-0472-4230-8B5E-7BEB0E181992}">
      <dgm:prSet/>
      <dgm:spPr/>
      <dgm:t>
        <a:bodyPr/>
        <a:lstStyle/>
        <a:p>
          <a:endParaRPr lang="pt-PT"/>
        </a:p>
      </dgm:t>
    </dgm:pt>
    <dgm:pt modelId="{38CF8666-F6FE-485A-98E8-B3229386D4B1}" type="sibTrans" cxnId="{098FAD07-0472-4230-8B5E-7BEB0E181992}">
      <dgm:prSet/>
      <dgm:spPr/>
      <dgm:t>
        <a:bodyPr/>
        <a:lstStyle/>
        <a:p>
          <a:endParaRPr lang="pt-PT"/>
        </a:p>
      </dgm:t>
    </dgm:pt>
    <dgm:pt modelId="{B0140155-4EF7-42EE-BBE6-B058F5727C79}">
      <dgm:prSet custT="1"/>
      <dgm:spPr/>
      <dgm:t>
        <a:bodyPr/>
        <a:lstStyle/>
        <a:p>
          <a:r>
            <a:rPr lang="pt-PT" sz="20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TAXA MÁXIMA DE 75%</a:t>
          </a:r>
          <a:endParaRPr lang="pt-PT" sz="20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CE8D7880-81D9-4EF0-BC8D-AF04D693E543}" type="parTrans" cxnId="{F691E520-FDEF-4190-A4D3-2DC674C575A7}">
      <dgm:prSet/>
      <dgm:spPr/>
      <dgm:t>
        <a:bodyPr/>
        <a:lstStyle/>
        <a:p>
          <a:endParaRPr lang="pt-PT"/>
        </a:p>
      </dgm:t>
    </dgm:pt>
    <dgm:pt modelId="{2A9A68A8-ACE5-4D8B-8AA9-26BC457776CF}" type="sibTrans" cxnId="{F691E520-FDEF-4190-A4D3-2DC674C575A7}">
      <dgm:prSet/>
      <dgm:spPr/>
      <dgm:t>
        <a:bodyPr/>
        <a:lstStyle/>
        <a:p>
          <a:endParaRPr lang="pt-PT"/>
        </a:p>
      </dgm:t>
    </dgm:pt>
    <dgm:pt modelId="{8E47D6DD-6261-4875-AC0C-81F58D378ED9}">
      <dgm:prSet custT="1"/>
      <dgm:spPr/>
      <dgm:t>
        <a:bodyPr/>
        <a:lstStyle/>
        <a:p>
          <a:r>
            <a:rPr lang="pt-PT" sz="2000" dirty="0" smtClean="0">
              <a:latin typeface="Arial" pitchFamily="34" charset="0"/>
              <a:cs typeface="Arial" pitchFamily="34" charset="0"/>
            </a:rPr>
            <a:t>AMORTIZAÇÕES EM PRESTAÇÕES SEMESTRAIS</a:t>
          </a:r>
          <a:endParaRPr lang="pt-PT" sz="2000" dirty="0">
            <a:latin typeface="Arial" pitchFamily="34" charset="0"/>
            <a:cs typeface="Arial" pitchFamily="34" charset="0"/>
          </a:endParaRPr>
        </a:p>
      </dgm:t>
    </dgm:pt>
    <dgm:pt modelId="{49ABF564-148D-40C5-9E7D-7D64D0B679BC}" type="parTrans" cxnId="{DD4F9925-3912-47B0-88D0-60DAE684EB57}">
      <dgm:prSet/>
      <dgm:spPr/>
      <dgm:t>
        <a:bodyPr/>
        <a:lstStyle/>
        <a:p>
          <a:endParaRPr lang="pt-PT"/>
        </a:p>
      </dgm:t>
    </dgm:pt>
    <dgm:pt modelId="{57DCC2D3-C420-4560-9DF7-41CEDAD60C9E}" type="sibTrans" cxnId="{DD4F9925-3912-47B0-88D0-60DAE684EB57}">
      <dgm:prSet/>
      <dgm:spPr/>
      <dgm:t>
        <a:bodyPr/>
        <a:lstStyle/>
        <a:p>
          <a:endParaRPr lang="pt-PT"/>
        </a:p>
      </dgm:t>
    </dgm:pt>
    <dgm:pt modelId="{661F00AB-F68C-43AF-A1B9-3ED330B556AA}">
      <dgm:prSet custT="1"/>
      <dgm:spPr/>
      <dgm:t>
        <a:bodyPr/>
        <a:lstStyle/>
        <a:p>
          <a:r>
            <a:rPr lang="pt-PT" sz="2000" dirty="0" smtClean="0">
              <a:latin typeface="Arial" pitchFamily="34" charset="0"/>
              <a:cs typeface="Arial" pitchFamily="34" charset="0"/>
            </a:rPr>
            <a:t>SEM PAGAMENTO </a:t>
          </a:r>
        </a:p>
        <a:p>
          <a:r>
            <a:rPr lang="pt-PT" sz="2000" dirty="0" smtClean="0">
              <a:latin typeface="Arial" pitchFamily="34" charset="0"/>
              <a:cs typeface="Arial" pitchFamily="34" charset="0"/>
            </a:rPr>
            <a:t>DE JUROS </a:t>
          </a:r>
          <a:endParaRPr lang="pt-PT" sz="2000" dirty="0">
            <a:latin typeface="Arial" pitchFamily="34" charset="0"/>
            <a:cs typeface="Arial" pitchFamily="34" charset="0"/>
          </a:endParaRPr>
        </a:p>
      </dgm:t>
    </dgm:pt>
    <dgm:pt modelId="{EBA58727-31AA-4300-AB35-4712D8B09FC0}" type="parTrans" cxnId="{D91BE8B3-7905-44BF-9D5D-487B1904AFAB}">
      <dgm:prSet/>
      <dgm:spPr/>
      <dgm:t>
        <a:bodyPr/>
        <a:lstStyle/>
        <a:p>
          <a:endParaRPr lang="pt-PT"/>
        </a:p>
      </dgm:t>
    </dgm:pt>
    <dgm:pt modelId="{352BE0A2-AB54-4756-9848-BBE9CF7E470F}" type="sibTrans" cxnId="{D91BE8B3-7905-44BF-9D5D-487B1904AFAB}">
      <dgm:prSet/>
      <dgm:spPr/>
      <dgm:t>
        <a:bodyPr/>
        <a:lstStyle/>
        <a:p>
          <a:endParaRPr lang="pt-PT"/>
        </a:p>
      </dgm:t>
    </dgm:pt>
    <dgm:pt modelId="{C0CD4CFF-2653-4AA5-99D4-6ED8A4C788E0}">
      <dgm:prSet custT="1"/>
      <dgm:spPr/>
      <dgm:t>
        <a:bodyPr/>
        <a:lstStyle/>
        <a:p>
          <a:r>
            <a:rPr lang="pt-PT" sz="2000" dirty="0" smtClean="0">
              <a:latin typeface="Arial" pitchFamily="34" charset="0"/>
              <a:cs typeface="Arial" pitchFamily="34" charset="0"/>
            </a:rPr>
            <a:t>PRAZO DE FINANCIAMENTO DE 6 A 10 ANOS </a:t>
          </a:r>
        </a:p>
        <a:p>
          <a:r>
            <a:rPr lang="pt-PT" sz="2000" dirty="0" smtClean="0">
              <a:latin typeface="Arial" pitchFamily="34" charset="0"/>
              <a:cs typeface="Arial" pitchFamily="34" charset="0"/>
            </a:rPr>
            <a:t>3 ANOS DE CARÊNCIA</a:t>
          </a:r>
          <a:endParaRPr lang="pt-PT" sz="2000" dirty="0">
            <a:latin typeface="Arial" pitchFamily="34" charset="0"/>
            <a:cs typeface="Arial" pitchFamily="34" charset="0"/>
          </a:endParaRPr>
        </a:p>
      </dgm:t>
    </dgm:pt>
    <dgm:pt modelId="{2CF3CF0A-A460-420F-BF22-EDA0EF06E90C}" type="parTrans" cxnId="{E353A95F-38A1-4F9A-96A3-3C124F7DBF1D}">
      <dgm:prSet/>
      <dgm:spPr/>
      <dgm:t>
        <a:bodyPr/>
        <a:lstStyle/>
        <a:p>
          <a:endParaRPr lang="pt-PT"/>
        </a:p>
      </dgm:t>
    </dgm:pt>
    <dgm:pt modelId="{9A1F8F80-0EDC-45E0-B392-58A60345F7E8}" type="sibTrans" cxnId="{E353A95F-38A1-4F9A-96A3-3C124F7DBF1D}">
      <dgm:prSet/>
      <dgm:spPr/>
      <dgm:t>
        <a:bodyPr/>
        <a:lstStyle/>
        <a:p>
          <a:endParaRPr lang="pt-PT"/>
        </a:p>
      </dgm:t>
    </dgm:pt>
    <dgm:pt modelId="{3D8FFFE9-C195-4320-A889-D0737A61EAAA}" type="pres">
      <dgm:prSet presAssocID="{E14FBBEF-D893-4C04-87FC-BA9AED97A429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881D9CD4-9AF0-4A7C-9018-530AA9B85DDF}" type="pres">
      <dgm:prSet presAssocID="{E14FBBEF-D893-4C04-87FC-BA9AED97A429}" presName="matrix" presStyleCnt="0"/>
      <dgm:spPr/>
    </dgm:pt>
    <dgm:pt modelId="{761C7898-36E7-4DE3-908B-921BF7DCF4A5}" type="pres">
      <dgm:prSet presAssocID="{E14FBBEF-D893-4C04-87FC-BA9AED97A429}" presName="tile1" presStyleLbl="node1" presStyleIdx="0" presStyleCnt="4"/>
      <dgm:spPr/>
      <dgm:t>
        <a:bodyPr/>
        <a:lstStyle/>
        <a:p>
          <a:endParaRPr lang="pt-PT"/>
        </a:p>
      </dgm:t>
    </dgm:pt>
    <dgm:pt modelId="{15BB3B05-7EAD-42E9-A82B-FB4595D9C29D}" type="pres">
      <dgm:prSet presAssocID="{E14FBBEF-D893-4C04-87FC-BA9AED97A429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0BFAE840-E7A1-4A8D-AC75-E292CFA23C10}" type="pres">
      <dgm:prSet presAssocID="{E14FBBEF-D893-4C04-87FC-BA9AED97A429}" presName="tile2" presStyleLbl="node1" presStyleIdx="1" presStyleCnt="4"/>
      <dgm:spPr/>
      <dgm:t>
        <a:bodyPr/>
        <a:lstStyle/>
        <a:p>
          <a:endParaRPr lang="pt-PT"/>
        </a:p>
      </dgm:t>
    </dgm:pt>
    <dgm:pt modelId="{22A2F73E-E59C-465E-AB1F-3B6DEB4E0C79}" type="pres">
      <dgm:prSet presAssocID="{E14FBBEF-D893-4C04-87FC-BA9AED97A429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72B21C92-978D-44A5-B206-FC3270E52C4F}" type="pres">
      <dgm:prSet presAssocID="{E14FBBEF-D893-4C04-87FC-BA9AED97A429}" presName="tile3" presStyleLbl="node1" presStyleIdx="2" presStyleCnt="4"/>
      <dgm:spPr/>
      <dgm:t>
        <a:bodyPr/>
        <a:lstStyle/>
        <a:p>
          <a:endParaRPr lang="pt-PT"/>
        </a:p>
      </dgm:t>
    </dgm:pt>
    <dgm:pt modelId="{4A775A7E-B781-4ADD-AF95-A0F903AA39C5}" type="pres">
      <dgm:prSet presAssocID="{E14FBBEF-D893-4C04-87FC-BA9AED97A429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9892223C-9A4D-4474-BC8D-2BCF75B60B09}" type="pres">
      <dgm:prSet presAssocID="{E14FBBEF-D893-4C04-87FC-BA9AED97A429}" presName="tile4" presStyleLbl="node1" presStyleIdx="3" presStyleCnt="4"/>
      <dgm:spPr/>
      <dgm:t>
        <a:bodyPr/>
        <a:lstStyle/>
        <a:p>
          <a:endParaRPr lang="pt-PT"/>
        </a:p>
      </dgm:t>
    </dgm:pt>
    <dgm:pt modelId="{E9A4C121-F584-444B-A6C2-8C43F75E23D2}" type="pres">
      <dgm:prSet presAssocID="{E14FBBEF-D893-4C04-87FC-BA9AED97A429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1BCE8575-11B6-41CE-A619-2D330F309A23}" type="pres">
      <dgm:prSet presAssocID="{E14FBBEF-D893-4C04-87FC-BA9AED97A429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pt-PT"/>
        </a:p>
      </dgm:t>
    </dgm:pt>
  </dgm:ptLst>
  <dgm:cxnLst>
    <dgm:cxn modelId="{0DD8105F-63B3-4B27-9188-CD3630F30731}" type="presOf" srcId="{661F00AB-F68C-43AF-A1B9-3ED330B556AA}" destId="{0BFAE840-E7A1-4A8D-AC75-E292CFA23C10}" srcOrd="0" destOrd="0" presId="urn:microsoft.com/office/officeart/2005/8/layout/matrix1"/>
    <dgm:cxn modelId="{869BC756-FBE3-4E00-8488-81E0A24B1D81}" type="presOf" srcId="{661F00AB-F68C-43AF-A1B9-3ED330B556AA}" destId="{22A2F73E-E59C-465E-AB1F-3B6DEB4E0C79}" srcOrd="1" destOrd="0" presId="urn:microsoft.com/office/officeart/2005/8/layout/matrix1"/>
    <dgm:cxn modelId="{D4812FA9-2335-4756-AB6A-93F6A43BD144}" type="presOf" srcId="{E14FBBEF-D893-4C04-87FC-BA9AED97A429}" destId="{3D8FFFE9-C195-4320-A889-D0737A61EAAA}" srcOrd="0" destOrd="0" presId="urn:microsoft.com/office/officeart/2005/8/layout/matrix1"/>
    <dgm:cxn modelId="{E83E4AB2-424E-44D5-8654-737E26DB24B8}" type="presOf" srcId="{4585E753-D177-4E4F-9B06-181B48C7BA83}" destId="{15BB3B05-7EAD-42E9-A82B-FB4595D9C29D}" srcOrd="1" destOrd="0" presId="urn:microsoft.com/office/officeart/2005/8/layout/matrix1"/>
    <dgm:cxn modelId="{FF7430E2-625A-4189-9143-66F8EB27985D}" type="presOf" srcId="{8E47D6DD-6261-4875-AC0C-81F58D378ED9}" destId="{E9A4C121-F584-444B-A6C2-8C43F75E23D2}" srcOrd="1" destOrd="0" presId="urn:microsoft.com/office/officeart/2005/8/layout/matrix1"/>
    <dgm:cxn modelId="{34E12902-877E-4C4F-89B2-721BBA1D9BE6}" type="presOf" srcId="{C0CD4CFF-2653-4AA5-99D4-6ED8A4C788E0}" destId="{72B21C92-978D-44A5-B206-FC3270E52C4F}" srcOrd="0" destOrd="0" presId="urn:microsoft.com/office/officeart/2005/8/layout/matrix1"/>
    <dgm:cxn modelId="{D91BE8B3-7905-44BF-9D5D-487B1904AFAB}" srcId="{B0140155-4EF7-42EE-BBE6-B058F5727C79}" destId="{661F00AB-F68C-43AF-A1B9-3ED330B556AA}" srcOrd="1" destOrd="0" parTransId="{EBA58727-31AA-4300-AB35-4712D8B09FC0}" sibTransId="{352BE0A2-AB54-4756-9848-BBE9CF7E470F}"/>
    <dgm:cxn modelId="{F18D7372-8349-4F99-B5E4-3DD98189C25B}" type="presOf" srcId="{C0CD4CFF-2653-4AA5-99D4-6ED8A4C788E0}" destId="{4A775A7E-B781-4ADD-AF95-A0F903AA39C5}" srcOrd="1" destOrd="0" presId="urn:microsoft.com/office/officeart/2005/8/layout/matrix1"/>
    <dgm:cxn modelId="{00D6F9B9-002A-4ADE-8DC7-2B2E954C467A}" type="presOf" srcId="{8E47D6DD-6261-4875-AC0C-81F58D378ED9}" destId="{9892223C-9A4D-4474-BC8D-2BCF75B60B09}" srcOrd="0" destOrd="0" presId="urn:microsoft.com/office/officeart/2005/8/layout/matrix1"/>
    <dgm:cxn modelId="{098FAD07-0472-4230-8B5E-7BEB0E181992}" srcId="{B0140155-4EF7-42EE-BBE6-B058F5727C79}" destId="{4585E753-D177-4E4F-9B06-181B48C7BA83}" srcOrd="0" destOrd="0" parTransId="{0859D9C3-D577-4526-9789-F13262209745}" sibTransId="{38CF8666-F6FE-485A-98E8-B3229386D4B1}"/>
    <dgm:cxn modelId="{B7DE9E6E-1753-48FF-A021-45BB7BAF9B4C}" type="presOf" srcId="{4585E753-D177-4E4F-9B06-181B48C7BA83}" destId="{761C7898-36E7-4DE3-908B-921BF7DCF4A5}" srcOrd="0" destOrd="0" presId="urn:microsoft.com/office/officeart/2005/8/layout/matrix1"/>
    <dgm:cxn modelId="{F691E520-FDEF-4190-A4D3-2DC674C575A7}" srcId="{E14FBBEF-D893-4C04-87FC-BA9AED97A429}" destId="{B0140155-4EF7-42EE-BBE6-B058F5727C79}" srcOrd="0" destOrd="0" parTransId="{CE8D7880-81D9-4EF0-BC8D-AF04D693E543}" sibTransId="{2A9A68A8-ACE5-4D8B-8AA9-26BC457776CF}"/>
    <dgm:cxn modelId="{E353A95F-38A1-4F9A-96A3-3C124F7DBF1D}" srcId="{B0140155-4EF7-42EE-BBE6-B058F5727C79}" destId="{C0CD4CFF-2653-4AA5-99D4-6ED8A4C788E0}" srcOrd="2" destOrd="0" parTransId="{2CF3CF0A-A460-420F-BF22-EDA0EF06E90C}" sibTransId="{9A1F8F80-0EDC-45E0-B392-58A60345F7E8}"/>
    <dgm:cxn modelId="{13C32BE3-B1B0-430F-A4EC-D3E55F1AA9EA}" type="presOf" srcId="{B0140155-4EF7-42EE-BBE6-B058F5727C79}" destId="{1BCE8575-11B6-41CE-A619-2D330F309A23}" srcOrd="0" destOrd="0" presId="urn:microsoft.com/office/officeart/2005/8/layout/matrix1"/>
    <dgm:cxn modelId="{DD4F9925-3912-47B0-88D0-60DAE684EB57}" srcId="{B0140155-4EF7-42EE-BBE6-B058F5727C79}" destId="{8E47D6DD-6261-4875-AC0C-81F58D378ED9}" srcOrd="3" destOrd="0" parTransId="{49ABF564-148D-40C5-9E7D-7D64D0B679BC}" sibTransId="{57DCC2D3-C420-4560-9DF7-41CEDAD60C9E}"/>
    <dgm:cxn modelId="{6ADAD47A-56F9-4F31-A5BF-1C4C39FA793B}" type="presParOf" srcId="{3D8FFFE9-C195-4320-A889-D0737A61EAAA}" destId="{881D9CD4-9AF0-4A7C-9018-530AA9B85DDF}" srcOrd="0" destOrd="0" presId="urn:microsoft.com/office/officeart/2005/8/layout/matrix1"/>
    <dgm:cxn modelId="{A886BAED-E21A-4C06-8B06-06D81287031D}" type="presParOf" srcId="{881D9CD4-9AF0-4A7C-9018-530AA9B85DDF}" destId="{761C7898-36E7-4DE3-908B-921BF7DCF4A5}" srcOrd="0" destOrd="0" presId="urn:microsoft.com/office/officeart/2005/8/layout/matrix1"/>
    <dgm:cxn modelId="{A1F6271F-C27B-4174-8957-F1B3F38E0F0B}" type="presParOf" srcId="{881D9CD4-9AF0-4A7C-9018-530AA9B85DDF}" destId="{15BB3B05-7EAD-42E9-A82B-FB4595D9C29D}" srcOrd="1" destOrd="0" presId="urn:microsoft.com/office/officeart/2005/8/layout/matrix1"/>
    <dgm:cxn modelId="{29AD7D0F-D7BC-4311-A566-21D27F627ADA}" type="presParOf" srcId="{881D9CD4-9AF0-4A7C-9018-530AA9B85DDF}" destId="{0BFAE840-E7A1-4A8D-AC75-E292CFA23C10}" srcOrd="2" destOrd="0" presId="urn:microsoft.com/office/officeart/2005/8/layout/matrix1"/>
    <dgm:cxn modelId="{75079551-47F1-4601-8ED4-49D714537F1F}" type="presParOf" srcId="{881D9CD4-9AF0-4A7C-9018-530AA9B85DDF}" destId="{22A2F73E-E59C-465E-AB1F-3B6DEB4E0C79}" srcOrd="3" destOrd="0" presId="urn:microsoft.com/office/officeart/2005/8/layout/matrix1"/>
    <dgm:cxn modelId="{EC767B41-F85B-45D5-8B42-8C8B3E71AAEF}" type="presParOf" srcId="{881D9CD4-9AF0-4A7C-9018-530AA9B85DDF}" destId="{72B21C92-978D-44A5-B206-FC3270E52C4F}" srcOrd="4" destOrd="0" presId="urn:microsoft.com/office/officeart/2005/8/layout/matrix1"/>
    <dgm:cxn modelId="{B4C20D98-90EF-4E54-9167-DB249C9C530E}" type="presParOf" srcId="{881D9CD4-9AF0-4A7C-9018-530AA9B85DDF}" destId="{4A775A7E-B781-4ADD-AF95-A0F903AA39C5}" srcOrd="5" destOrd="0" presId="urn:microsoft.com/office/officeart/2005/8/layout/matrix1"/>
    <dgm:cxn modelId="{EC646998-D3B5-4B74-ACB4-E5A845B5699E}" type="presParOf" srcId="{881D9CD4-9AF0-4A7C-9018-530AA9B85DDF}" destId="{9892223C-9A4D-4474-BC8D-2BCF75B60B09}" srcOrd="6" destOrd="0" presId="urn:microsoft.com/office/officeart/2005/8/layout/matrix1"/>
    <dgm:cxn modelId="{F724ED25-53C9-4BE3-BEF0-77FB07C0448A}" type="presParOf" srcId="{881D9CD4-9AF0-4A7C-9018-530AA9B85DDF}" destId="{E9A4C121-F584-444B-A6C2-8C43F75E23D2}" srcOrd="7" destOrd="0" presId="urn:microsoft.com/office/officeart/2005/8/layout/matrix1"/>
    <dgm:cxn modelId="{5990F13A-506C-4822-9E71-1104F6A91F97}" type="presParOf" srcId="{3D8FFFE9-C195-4320-A889-D0737A61EAAA}" destId="{1BCE8575-11B6-41CE-A619-2D330F309A23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915969C-7E6D-4739-B55E-959DC1E6E4B2}" type="doc">
      <dgm:prSet loTypeId="urn:microsoft.com/office/officeart/2005/8/layout/equation2" loCatId="relationship" qsTypeId="urn:microsoft.com/office/officeart/2005/8/quickstyle/simple1#4" qsCatId="simple" csTypeId="urn:microsoft.com/office/officeart/2005/8/colors/accent2_2" csCatId="accent2" phldr="1"/>
      <dgm:spPr/>
    </dgm:pt>
    <dgm:pt modelId="{CC77AEA5-D1CC-4939-9DE4-EBCF16A0AAF2}">
      <dgm:prSet phldrT="[Text]" custT="1"/>
      <dgm:spPr/>
      <dgm:t>
        <a:bodyPr/>
        <a:lstStyle/>
        <a:p>
          <a:r>
            <a:rPr lang="pt-PT" sz="1200" dirty="0" smtClean="0">
              <a:latin typeface="Arial" pitchFamily="34" charset="0"/>
              <a:cs typeface="Arial" pitchFamily="34" charset="0"/>
            </a:rPr>
            <a:t>AVALIAÇÃO DOS RESULTADOS</a:t>
          </a:r>
          <a:endParaRPr lang="pt-PT" sz="1200" dirty="0">
            <a:latin typeface="Arial" pitchFamily="34" charset="0"/>
            <a:cs typeface="Arial" pitchFamily="34" charset="0"/>
          </a:endParaRPr>
        </a:p>
      </dgm:t>
    </dgm:pt>
    <dgm:pt modelId="{93BD4ABB-D500-498E-B56E-4BADA5BDD1CE}" type="parTrans" cxnId="{C7A79DEC-3974-41E1-BE1B-58176C2C23EC}">
      <dgm:prSet/>
      <dgm:spPr/>
      <dgm:t>
        <a:bodyPr/>
        <a:lstStyle/>
        <a:p>
          <a:endParaRPr lang="pt-PT"/>
        </a:p>
      </dgm:t>
    </dgm:pt>
    <dgm:pt modelId="{5C682DB8-C047-4A99-B0BD-27B764F1C7A0}" type="sibTrans" cxnId="{C7A79DEC-3974-41E1-BE1B-58176C2C23EC}">
      <dgm:prSet/>
      <dgm:spPr/>
      <dgm:t>
        <a:bodyPr/>
        <a:lstStyle/>
        <a:p>
          <a:endParaRPr lang="pt-PT"/>
        </a:p>
      </dgm:t>
    </dgm:pt>
    <dgm:pt modelId="{D71580A5-0A1E-4816-9634-8926DBE8BEC3}">
      <dgm:prSet phldrT="[Text]"/>
      <dgm:spPr/>
      <dgm:t>
        <a:bodyPr/>
        <a:lstStyle/>
        <a:p>
          <a:r>
            <a:rPr lang="pt-PT" dirty="0" smtClean="0">
              <a:latin typeface="Arial" pitchFamily="34" charset="0"/>
              <a:cs typeface="Arial" pitchFamily="34" charset="0"/>
            </a:rPr>
            <a:t>CONVERSÃO DO IR</a:t>
          </a:r>
        </a:p>
        <a:p>
          <a:r>
            <a:rPr lang="pt-PT" dirty="0" smtClean="0">
              <a:latin typeface="Arial" pitchFamily="34" charset="0"/>
              <a:cs typeface="Arial" pitchFamily="34" charset="0"/>
            </a:rPr>
            <a:t>EM CAPITAL PRÓPRIO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7EDD7201-8F00-4E26-AE66-11B3BB82FC97}" type="parTrans" cxnId="{A372A5CD-794E-45ED-9E77-ED68FB057848}">
      <dgm:prSet/>
      <dgm:spPr/>
      <dgm:t>
        <a:bodyPr/>
        <a:lstStyle/>
        <a:p>
          <a:endParaRPr lang="pt-PT"/>
        </a:p>
      </dgm:t>
    </dgm:pt>
    <dgm:pt modelId="{324ADFCD-C6BA-477F-9C37-4F657253B61B}" type="sibTrans" cxnId="{A372A5CD-794E-45ED-9E77-ED68FB057848}">
      <dgm:prSet/>
      <dgm:spPr/>
      <dgm:t>
        <a:bodyPr/>
        <a:lstStyle/>
        <a:p>
          <a:endParaRPr lang="pt-PT"/>
        </a:p>
      </dgm:t>
    </dgm:pt>
    <dgm:pt modelId="{C6C07B81-2AC4-4CD8-B1B1-FAC51985B0AA}">
      <dgm:prSet phldrT="[Text]"/>
      <dgm:spPr/>
      <dgm:t>
        <a:bodyPr/>
        <a:lstStyle/>
        <a:p>
          <a:r>
            <a:rPr lang="pt-PT" dirty="0" smtClean="0">
              <a:latin typeface="Arial" pitchFamily="34" charset="0"/>
              <a:cs typeface="Arial" pitchFamily="34" charset="0"/>
            </a:rPr>
            <a:t>CAPITALIZAÇÃO</a:t>
          </a:r>
        </a:p>
        <a:p>
          <a:r>
            <a:rPr lang="pt-PT" dirty="0" smtClean="0">
              <a:latin typeface="Arial" pitchFamily="34" charset="0"/>
              <a:cs typeface="Arial" pitchFamily="34" charset="0"/>
            </a:rPr>
            <a:t>EMPRESAS</a:t>
          </a:r>
          <a:endParaRPr lang="pt-PT" dirty="0">
            <a:latin typeface="Arial" pitchFamily="34" charset="0"/>
            <a:cs typeface="Arial" pitchFamily="34" charset="0"/>
          </a:endParaRPr>
        </a:p>
      </dgm:t>
    </dgm:pt>
    <dgm:pt modelId="{3B320592-7ABD-4535-891C-1E2A675DBDE8}" type="parTrans" cxnId="{1069D3ED-BCFD-4C22-80C2-42E7024E955E}">
      <dgm:prSet/>
      <dgm:spPr/>
      <dgm:t>
        <a:bodyPr/>
        <a:lstStyle/>
        <a:p>
          <a:endParaRPr lang="pt-PT"/>
        </a:p>
      </dgm:t>
    </dgm:pt>
    <dgm:pt modelId="{7640E41E-6873-4C20-A284-03362D0E552C}" type="sibTrans" cxnId="{1069D3ED-BCFD-4C22-80C2-42E7024E955E}">
      <dgm:prSet/>
      <dgm:spPr/>
      <dgm:t>
        <a:bodyPr/>
        <a:lstStyle/>
        <a:p>
          <a:endParaRPr lang="pt-PT"/>
        </a:p>
      </dgm:t>
    </dgm:pt>
    <dgm:pt modelId="{F484F645-936C-404B-B430-D6C4F5E71C31}" type="pres">
      <dgm:prSet presAssocID="{4915969C-7E6D-4739-B55E-959DC1E6E4B2}" presName="Name0" presStyleCnt="0">
        <dgm:presLayoutVars>
          <dgm:dir/>
          <dgm:resizeHandles val="exact"/>
        </dgm:presLayoutVars>
      </dgm:prSet>
      <dgm:spPr/>
    </dgm:pt>
    <dgm:pt modelId="{0931EB68-D088-461B-8205-94AD91CA97DC}" type="pres">
      <dgm:prSet presAssocID="{4915969C-7E6D-4739-B55E-959DC1E6E4B2}" presName="vNodes" presStyleCnt="0"/>
      <dgm:spPr/>
    </dgm:pt>
    <dgm:pt modelId="{65D3C92E-355F-4C28-A1C3-E6C5EE0346B7}" type="pres">
      <dgm:prSet presAssocID="{CC77AEA5-D1CC-4939-9DE4-EBCF16A0AAF2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23B71FE6-20D5-401A-AABE-AB06C8295BF6}" type="pres">
      <dgm:prSet presAssocID="{5C682DB8-C047-4A99-B0BD-27B764F1C7A0}" presName="spacerT" presStyleCnt="0"/>
      <dgm:spPr/>
    </dgm:pt>
    <dgm:pt modelId="{6A77CBB1-5873-4FA3-997B-BC75F8FA16F4}" type="pres">
      <dgm:prSet presAssocID="{5C682DB8-C047-4A99-B0BD-27B764F1C7A0}" presName="sibTrans" presStyleLbl="sibTrans2D1" presStyleIdx="0" presStyleCnt="2"/>
      <dgm:spPr/>
      <dgm:t>
        <a:bodyPr/>
        <a:lstStyle/>
        <a:p>
          <a:endParaRPr lang="pt-PT"/>
        </a:p>
      </dgm:t>
    </dgm:pt>
    <dgm:pt modelId="{E0901096-4C73-4889-A6E0-656C57D49C48}" type="pres">
      <dgm:prSet presAssocID="{5C682DB8-C047-4A99-B0BD-27B764F1C7A0}" presName="spacerB" presStyleCnt="0"/>
      <dgm:spPr/>
    </dgm:pt>
    <dgm:pt modelId="{B2F04208-EC42-4AF1-BA83-2BE405580B11}" type="pres">
      <dgm:prSet presAssocID="{D71580A5-0A1E-4816-9634-8926DBE8BEC3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B0338E6C-6FB1-4967-A9F3-C27C36464466}" type="pres">
      <dgm:prSet presAssocID="{4915969C-7E6D-4739-B55E-959DC1E6E4B2}" presName="sibTransLast" presStyleLbl="sibTrans2D1" presStyleIdx="1" presStyleCnt="2"/>
      <dgm:spPr/>
      <dgm:t>
        <a:bodyPr/>
        <a:lstStyle/>
        <a:p>
          <a:endParaRPr lang="pt-PT"/>
        </a:p>
      </dgm:t>
    </dgm:pt>
    <dgm:pt modelId="{863C517B-7E2F-4DC8-A2B6-5CC9EB2B9EEF}" type="pres">
      <dgm:prSet presAssocID="{4915969C-7E6D-4739-B55E-959DC1E6E4B2}" presName="connectorText" presStyleLbl="sibTrans2D1" presStyleIdx="1" presStyleCnt="2"/>
      <dgm:spPr/>
      <dgm:t>
        <a:bodyPr/>
        <a:lstStyle/>
        <a:p>
          <a:endParaRPr lang="pt-PT"/>
        </a:p>
      </dgm:t>
    </dgm:pt>
    <dgm:pt modelId="{EC4E93DF-0F2B-4F48-80DE-208BDE9A326E}" type="pres">
      <dgm:prSet presAssocID="{4915969C-7E6D-4739-B55E-959DC1E6E4B2}" presName="lastNode" presStyleLbl="node1" presStyleIdx="2" presStyleCnt="3" custLinFactNeighborX="3283" custLinFactNeighborY="1292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FE957556-744A-43B3-830C-0BAD9271429A}" type="presOf" srcId="{5C682DB8-C047-4A99-B0BD-27B764F1C7A0}" destId="{6A77CBB1-5873-4FA3-997B-BC75F8FA16F4}" srcOrd="0" destOrd="0" presId="urn:microsoft.com/office/officeart/2005/8/layout/equation2"/>
    <dgm:cxn modelId="{8F04C0C1-58B4-46DB-A6BD-027B78737CB1}" type="presOf" srcId="{D71580A5-0A1E-4816-9634-8926DBE8BEC3}" destId="{B2F04208-EC42-4AF1-BA83-2BE405580B11}" srcOrd="0" destOrd="0" presId="urn:microsoft.com/office/officeart/2005/8/layout/equation2"/>
    <dgm:cxn modelId="{B1DED69A-F9E4-4FA8-987C-67FA8C03A67C}" type="presOf" srcId="{C6C07B81-2AC4-4CD8-B1B1-FAC51985B0AA}" destId="{EC4E93DF-0F2B-4F48-80DE-208BDE9A326E}" srcOrd="0" destOrd="0" presId="urn:microsoft.com/office/officeart/2005/8/layout/equation2"/>
    <dgm:cxn modelId="{A372A5CD-794E-45ED-9E77-ED68FB057848}" srcId="{4915969C-7E6D-4739-B55E-959DC1E6E4B2}" destId="{D71580A5-0A1E-4816-9634-8926DBE8BEC3}" srcOrd="1" destOrd="0" parTransId="{7EDD7201-8F00-4E26-AE66-11B3BB82FC97}" sibTransId="{324ADFCD-C6BA-477F-9C37-4F657253B61B}"/>
    <dgm:cxn modelId="{1069D3ED-BCFD-4C22-80C2-42E7024E955E}" srcId="{4915969C-7E6D-4739-B55E-959DC1E6E4B2}" destId="{C6C07B81-2AC4-4CD8-B1B1-FAC51985B0AA}" srcOrd="2" destOrd="0" parTransId="{3B320592-7ABD-4535-891C-1E2A675DBDE8}" sibTransId="{7640E41E-6873-4C20-A284-03362D0E552C}"/>
    <dgm:cxn modelId="{4BC94027-D8DA-4DD5-A948-7B295FAC4505}" type="presOf" srcId="{4915969C-7E6D-4739-B55E-959DC1E6E4B2}" destId="{F484F645-936C-404B-B430-D6C4F5E71C31}" srcOrd="0" destOrd="0" presId="urn:microsoft.com/office/officeart/2005/8/layout/equation2"/>
    <dgm:cxn modelId="{C7A79DEC-3974-41E1-BE1B-58176C2C23EC}" srcId="{4915969C-7E6D-4739-B55E-959DC1E6E4B2}" destId="{CC77AEA5-D1CC-4939-9DE4-EBCF16A0AAF2}" srcOrd="0" destOrd="0" parTransId="{93BD4ABB-D500-498E-B56E-4BADA5BDD1CE}" sibTransId="{5C682DB8-C047-4A99-B0BD-27B764F1C7A0}"/>
    <dgm:cxn modelId="{A0BE6440-44AC-45DD-816A-1FB48663C340}" type="presOf" srcId="{324ADFCD-C6BA-477F-9C37-4F657253B61B}" destId="{863C517B-7E2F-4DC8-A2B6-5CC9EB2B9EEF}" srcOrd="1" destOrd="0" presId="urn:microsoft.com/office/officeart/2005/8/layout/equation2"/>
    <dgm:cxn modelId="{E566B8F2-7532-40F0-B9A4-B7D8AC9DFD0B}" type="presOf" srcId="{324ADFCD-C6BA-477F-9C37-4F657253B61B}" destId="{B0338E6C-6FB1-4967-A9F3-C27C36464466}" srcOrd="0" destOrd="0" presId="urn:microsoft.com/office/officeart/2005/8/layout/equation2"/>
    <dgm:cxn modelId="{803BCF52-7225-456E-96BF-019BB1BF0AB2}" type="presOf" srcId="{CC77AEA5-D1CC-4939-9DE4-EBCF16A0AAF2}" destId="{65D3C92E-355F-4C28-A1C3-E6C5EE0346B7}" srcOrd="0" destOrd="0" presId="urn:microsoft.com/office/officeart/2005/8/layout/equation2"/>
    <dgm:cxn modelId="{4E097187-C9B7-4AF0-9B52-4D369FCD9358}" type="presParOf" srcId="{F484F645-936C-404B-B430-D6C4F5E71C31}" destId="{0931EB68-D088-461B-8205-94AD91CA97DC}" srcOrd="0" destOrd="0" presId="urn:microsoft.com/office/officeart/2005/8/layout/equation2"/>
    <dgm:cxn modelId="{433D1987-A389-40B5-A6CE-C2332748D62E}" type="presParOf" srcId="{0931EB68-D088-461B-8205-94AD91CA97DC}" destId="{65D3C92E-355F-4C28-A1C3-E6C5EE0346B7}" srcOrd="0" destOrd="0" presId="urn:microsoft.com/office/officeart/2005/8/layout/equation2"/>
    <dgm:cxn modelId="{D05B980B-AA65-446A-AB79-F1AAE8924FA7}" type="presParOf" srcId="{0931EB68-D088-461B-8205-94AD91CA97DC}" destId="{23B71FE6-20D5-401A-AABE-AB06C8295BF6}" srcOrd="1" destOrd="0" presId="urn:microsoft.com/office/officeart/2005/8/layout/equation2"/>
    <dgm:cxn modelId="{B8F13350-A0C4-43DC-B91A-E27B2D0848F3}" type="presParOf" srcId="{0931EB68-D088-461B-8205-94AD91CA97DC}" destId="{6A77CBB1-5873-4FA3-997B-BC75F8FA16F4}" srcOrd="2" destOrd="0" presId="urn:microsoft.com/office/officeart/2005/8/layout/equation2"/>
    <dgm:cxn modelId="{7867D9AC-8E23-4C9B-810C-FB6B56AEF174}" type="presParOf" srcId="{0931EB68-D088-461B-8205-94AD91CA97DC}" destId="{E0901096-4C73-4889-A6E0-656C57D49C48}" srcOrd="3" destOrd="0" presId="urn:microsoft.com/office/officeart/2005/8/layout/equation2"/>
    <dgm:cxn modelId="{54FA38F8-1F91-4FCA-87CF-FA7DB9B817BE}" type="presParOf" srcId="{0931EB68-D088-461B-8205-94AD91CA97DC}" destId="{B2F04208-EC42-4AF1-BA83-2BE405580B11}" srcOrd="4" destOrd="0" presId="urn:microsoft.com/office/officeart/2005/8/layout/equation2"/>
    <dgm:cxn modelId="{E82A36B5-0F2E-4A2F-B893-496F7F230542}" type="presParOf" srcId="{F484F645-936C-404B-B430-D6C4F5E71C31}" destId="{B0338E6C-6FB1-4967-A9F3-C27C36464466}" srcOrd="1" destOrd="0" presId="urn:microsoft.com/office/officeart/2005/8/layout/equation2"/>
    <dgm:cxn modelId="{F1976EFD-44B9-4F80-9616-C32CAA6D6037}" type="presParOf" srcId="{B0338E6C-6FB1-4967-A9F3-C27C36464466}" destId="{863C517B-7E2F-4DC8-A2B6-5CC9EB2B9EEF}" srcOrd="0" destOrd="0" presId="urn:microsoft.com/office/officeart/2005/8/layout/equation2"/>
    <dgm:cxn modelId="{0DE7C575-FEAC-46D4-B684-282E1C0A698E}" type="presParOf" srcId="{F484F645-936C-404B-B430-D6C4F5E71C31}" destId="{EC4E93DF-0F2B-4F48-80DE-208BDE9A326E}" srcOrd="2" destOrd="0" presId="urn:microsoft.com/office/officeart/2005/8/layout/equation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14FBBEF-D893-4C04-87FC-BA9AED97A429}" type="doc">
      <dgm:prSet loTypeId="urn:microsoft.com/office/officeart/2008/layout/HorizontalMultiLevelHierarchy" loCatId="hierarchy" qsTypeId="urn:microsoft.com/office/officeart/2005/8/quickstyle/simple1#5" qsCatId="simple" csTypeId="urn:microsoft.com/office/officeart/2005/8/colors/accent2_5" csCatId="accent2" phldr="1"/>
      <dgm:spPr/>
      <dgm:t>
        <a:bodyPr/>
        <a:lstStyle/>
        <a:p>
          <a:endParaRPr lang="pt-PT"/>
        </a:p>
      </dgm:t>
    </dgm:pt>
    <dgm:pt modelId="{4585E753-D177-4E4F-9B06-181B48C7BA83}">
      <dgm:prSet custT="1"/>
      <dgm:spPr/>
      <dgm:t>
        <a:bodyPr/>
        <a:lstStyle/>
        <a:p>
          <a:r>
            <a:rPr lang="pt-PT" sz="2000" dirty="0" smtClean="0">
              <a:latin typeface="Arial" pitchFamily="34" charset="0"/>
              <a:cs typeface="Arial" pitchFamily="34" charset="0"/>
            </a:rPr>
            <a:t>1.454 CANDIDATURAS</a:t>
          </a:r>
          <a:endParaRPr lang="pt-PT" sz="2000" dirty="0">
            <a:latin typeface="Arial" pitchFamily="34" charset="0"/>
            <a:cs typeface="Arial" pitchFamily="34" charset="0"/>
          </a:endParaRPr>
        </a:p>
      </dgm:t>
    </dgm:pt>
    <dgm:pt modelId="{0859D9C3-D577-4526-9789-F13262209745}" type="parTrans" cxnId="{098FAD07-0472-4230-8B5E-7BEB0E181992}">
      <dgm:prSet/>
      <dgm:spPr/>
      <dgm:t>
        <a:bodyPr/>
        <a:lstStyle/>
        <a:p>
          <a:endParaRPr lang="pt-PT"/>
        </a:p>
      </dgm:t>
    </dgm:pt>
    <dgm:pt modelId="{38CF8666-F6FE-485A-98E8-B3229386D4B1}" type="sibTrans" cxnId="{098FAD07-0472-4230-8B5E-7BEB0E181992}">
      <dgm:prSet/>
      <dgm:spPr/>
      <dgm:t>
        <a:bodyPr/>
        <a:lstStyle/>
        <a:p>
          <a:endParaRPr lang="pt-PT"/>
        </a:p>
      </dgm:t>
    </dgm:pt>
    <dgm:pt modelId="{B0140155-4EF7-42EE-BBE6-B058F5727C79}">
      <dgm:prSet custT="1"/>
      <dgm:spPr/>
      <dgm:t>
        <a:bodyPr/>
        <a:lstStyle/>
        <a:p>
          <a:r>
            <a:rPr lang="pt-PT" sz="2000" b="1" kern="1200" dirty="0" smtClean="0">
              <a:solidFill>
                <a:schemeClr val="bg1"/>
              </a:solidFill>
              <a:latin typeface="Arial" charset="0"/>
              <a:ea typeface="Geneva" charset="0"/>
              <a:cs typeface="Arial" charset="0"/>
            </a:rPr>
            <a:t>RESULTADOS</a:t>
          </a:r>
          <a:endParaRPr lang="pt-PT" sz="2000" b="1" kern="1200" dirty="0">
            <a:solidFill>
              <a:schemeClr val="bg1"/>
            </a:solidFill>
            <a:latin typeface="Arial" charset="0"/>
            <a:ea typeface="Geneva" charset="0"/>
            <a:cs typeface="Arial" charset="0"/>
          </a:endParaRPr>
        </a:p>
      </dgm:t>
    </dgm:pt>
    <dgm:pt modelId="{CE8D7880-81D9-4EF0-BC8D-AF04D693E543}" type="parTrans" cxnId="{F691E520-FDEF-4190-A4D3-2DC674C575A7}">
      <dgm:prSet/>
      <dgm:spPr/>
      <dgm:t>
        <a:bodyPr/>
        <a:lstStyle/>
        <a:p>
          <a:endParaRPr lang="pt-PT"/>
        </a:p>
      </dgm:t>
    </dgm:pt>
    <dgm:pt modelId="{2A9A68A8-ACE5-4D8B-8AA9-26BC457776CF}" type="sibTrans" cxnId="{F691E520-FDEF-4190-A4D3-2DC674C575A7}">
      <dgm:prSet/>
      <dgm:spPr/>
      <dgm:t>
        <a:bodyPr/>
        <a:lstStyle/>
        <a:p>
          <a:endParaRPr lang="pt-PT"/>
        </a:p>
      </dgm:t>
    </dgm:pt>
    <dgm:pt modelId="{DDDF14F8-142E-4E3C-9117-928E18802F9D}">
      <dgm:prSet custT="1"/>
      <dgm:spPr/>
      <dgm:t>
        <a:bodyPr/>
        <a:lstStyle/>
        <a:p>
          <a:r>
            <a:rPr lang="pt-PT" sz="2000" dirty="0" smtClean="0">
              <a:latin typeface="Arial" pitchFamily="34" charset="0"/>
              <a:cs typeface="Arial" pitchFamily="34" charset="0"/>
            </a:rPr>
            <a:t>603 CANDIDATURAS SELECIONADAS</a:t>
          </a:r>
          <a:endParaRPr lang="pt-PT" sz="2000" dirty="0">
            <a:latin typeface="Arial" pitchFamily="34" charset="0"/>
            <a:cs typeface="Arial" pitchFamily="34" charset="0"/>
          </a:endParaRPr>
        </a:p>
      </dgm:t>
    </dgm:pt>
    <dgm:pt modelId="{4DC1CCFA-FE67-4E33-BB72-BBCF3C0D07A1}" type="parTrans" cxnId="{5E45DB02-BFEC-4A00-A1CF-B0D70169D190}">
      <dgm:prSet/>
      <dgm:spPr/>
      <dgm:t>
        <a:bodyPr/>
        <a:lstStyle/>
        <a:p>
          <a:endParaRPr lang="pt-PT"/>
        </a:p>
      </dgm:t>
    </dgm:pt>
    <dgm:pt modelId="{3D26D09B-4C92-4777-82F6-DC7E0EA5BBCD}" type="sibTrans" cxnId="{5E45DB02-BFEC-4A00-A1CF-B0D70169D190}">
      <dgm:prSet/>
      <dgm:spPr/>
      <dgm:t>
        <a:bodyPr/>
        <a:lstStyle/>
        <a:p>
          <a:endParaRPr lang="pt-PT"/>
        </a:p>
      </dgm:t>
    </dgm:pt>
    <dgm:pt modelId="{36DE1901-BFAA-42DF-AD55-6E7F33B0A053}">
      <dgm:prSet custT="1"/>
      <dgm:spPr/>
      <dgm:t>
        <a:bodyPr/>
        <a:lstStyle/>
        <a:p>
          <a:r>
            <a:rPr lang="pt-PT" sz="2000" dirty="0" smtClean="0">
              <a:latin typeface="Arial" pitchFamily="34" charset="0"/>
              <a:cs typeface="Arial" pitchFamily="34" charset="0"/>
            </a:rPr>
            <a:t>INVESTIMENTO ELEGÍVEL </a:t>
          </a:r>
          <a:r>
            <a:rPr lang="pt-PT" dirty="0" smtClean="0">
              <a:latin typeface="Arial" pitchFamily="34" charset="0"/>
              <a:cs typeface="Arial" pitchFamily="34" charset="0"/>
            </a:rPr>
            <a:t>4.040 M€</a:t>
          </a:r>
          <a:endParaRPr lang="pt-PT" sz="2000" dirty="0">
            <a:latin typeface="Arial" pitchFamily="34" charset="0"/>
            <a:cs typeface="Arial" pitchFamily="34" charset="0"/>
          </a:endParaRPr>
        </a:p>
      </dgm:t>
    </dgm:pt>
    <dgm:pt modelId="{B45CA203-BF26-4CFB-B4B1-8D40D1D6828F}" type="parTrans" cxnId="{07336F96-741D-459A-8D3C-27290A1933BF}">
      <dgm:prSet/>
      <dgm:spPr/>
      <dgm:t>
        <a:bodyPr/>
        <a:lstStyle/>
        <a:p>
          <a:endParaRPr lang="pt-PT"/>
        </a:p>
      </dgm:t>
    </dgm:pt>
    <dgm:pt modelId="{D3CD89F6-2A05-4238-82E2-1C48AF0963E8}" type="sibTrans" cxnId="{07336F96-741D-459A-8D3C-27290A1933BF}">
      <dgm:prSet/>
      <dgm:spPr/>
      <dgm:t>
        <a:bodyPr/>
        <a:lstStyle/>
        <a:p>
          <a:endParaRPr lang="pt-PT"/>
        </a:p>
      </dgm:t>
    </dgm:pt>
    <dgm:pt modelId="{D9254F6D-98FD-45C9-AE44-DEED07986775}">
      <dgm:prSet custT="1"/>
      <dgm:spPr/>
      <dgm:t>
        <a:bodyPr/>
        <a:lstStyle/>
        <a:p>
          <a:r>
            <a:rPr lang="pt-PT" sz="2000" dirty="0" smtClean="0">
              <a:latin typeface="Arial" pitchFamily="34" charset="0"/>
              <a:cs typeface="Arial" pitchFamily="34" charset="0"/>
            </a:rPr>
            <a:t>INCENTIVO </a:t>
          </a:r>
          <a:r>
            <a:rPr lang="pt-PT" dirty="0" smtClean="0">
              <a:latin typeface="Arial" pitchFamily="34" charset="0"/>
              <a:cs typeface="Arial" pitchFamily="34" charset="0"/>
            </a:rPr>
            <a:t>1.542 M€</a:t>
          </a:r>
          <a:endParaRPr lang="pt-PT" sz="2000" dirty="0">
            <a:latin typeface="Arial" pitchFamily="34" charset="0"/>
            <a:cs typeface="Arial" pitchFamily="34" charset="0"/>
          </a:endParaRPr>
        </a:p>
      </dgm:t>
    </dgm:pt>
    <dgm:pt modelId="{925A1F23-4BF8-4BA6-B0B0-51C2CD637327}" type="parTrans" cxnId="{E9589F6D-AF42-47C7-BA83-4EED8EE05C85}">
      <dgm:prSet/>
      <dgm:spPr/>
      <dgm:t>
        <a:bodyPr/>
        <a:lstStyle/>
        <a:p>
          <a:endParaRPr lang="pt-PT"/>
        </a:p>
      </dgm:t>
    </dgm:pt>
    <dgm:pt modelId="{F113E6D4-5C0B-4FAC-88C7-770DF5399135}" type="sibTrans" cxnId="{E9589F6D-AF42-47C7-BA83-4EED8EE05C85}">
      <dgm:prSet/>
      <dgm:spPr/>
      <dgm:t>
        <a:bodyPr/>
        <a:lstStyle/>
        <a:p>
          <a:endParaRPr lang="pt-PT"/>
        </a:p>
      </dgm:t>
    </dgm:pt>
    <dgm:pt modelId="{8B836743-9843-4EFA-9015-FCDA4C8BA0FF}" type="pres">
      <dgm:prSet presAssocID="{E14FBBEF-D893-4C04-87FC-BA9AED97A429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pt-PT"/>
        </a:p>
      </dgm:t>
    </dgm:pt>
    <dgm:pt modelId="{796CDD92-ED02-4765-9FD6-EDFF5A366D3E}" type="pres">
      <dgm:prSet presAssocID="{B0140155-4EF7-42EE-BBE6-B058F5727C79}" presName="root1" presStyleCnt="0"/>
      <dgm:spPr/>
    </dgm:pt>
    <dgm:pt modelId="{16B10253-94DD-4EE1-907A-74D8C494CD43}" type="pres">
      <dgm:prSet presAssocID="{B0140155-4EF7-42EE-BBE6-B058F5727C79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36056A6E-704B-44D4-AA83-C18E5EB84407}" type="pres">
      <dgm:prSet presAssocID="{B0140155-4EF7-42EE-BBE6-B058F5727C79}" presName="level2hierChild" presStyleCnt="0"/>
      <dgm:spPr/>
    </dgm:pt>
    <dgm:pt modelId="{6B5544B4-CAC1-4035-815C-128B4EECBDA9}" type="pres">
      <dgm:prSet presAssocID="{0859D9C3-D577-4526-9789-F13262209745}" presName="conn2-1" presStyleLbl="parChTrans1D2" presStyleIdx="0" presStyleCnt="4"/>
      <dgm:spPr/>
      <dgm:t>
        <a:bodyPr/>
        <a:lstStyle/>
        <a:p>
          <a:endParaRPr lang="pt-PT"/>
        </a:p>
      </dgm:t>
    </dgm:pt>
    <dgm:pt modelId="{02A7B82C-135A-48C2-8240-10DF451C7A98}" type="pres">
      <dgm:prSet presAssocID="{0859D9C3-D577-4526-9789-F13262209745}" presName="connTx" presStyleLbl="parChTrans1D2" presStyleIdx="0" presStyleCnt="4"/>
      <dgm:spPr/>
      <dgm:t>
        <a:bodyPr/>
        <a:lstStyle/>
        <a:p>
          <a:endParaRPr lang="pt-PT"/>
        </a:p>
      </dgm:t>
    </dgm:pt>
    <dgm:pt modelId="{E7B595F0-2F99-47EA-A9EC-8A29BE3E229E}" type="pres">
      <dgm:prSet presAssocID="{4585E753-D177-4E4F-9B06-181B48C7BA83}" presName="root2" presStyleCnt="0"/>
      <dgm:spPr/>
    </dgm:pt>
    <dgm:pt modelId="{0F223507-4537-40D8-A315-6691476C84E5}" type="pres">
      <dgm:prSet presAssocID="{4585E753-D177-4E4F-9B06-181B48C7BA83}" presName="LevelTwoTextNode" presStyleLbl="node2" presStyleIdx="0" presStyleCnt="4" custScaleX="246477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E4F7972D-F679-475F-8892-F67306DF274E}" type="pres">
      <dgm:prSet presAssocID="{4585E753-D177-4E4F-9B06-181B48C7BA83}" presName="level3hierChild" presStyleCnt="0"/>
      <dgm:spPr/>
    </dgm:pt>
    <dgm:pt modelId="{D6C059D2-C904-4861-9416-7818032D44BD}" type="pres">
      <dgm:prSet presAssocID="{4DC1CCFA-FE67-4E33-BB72-BBCF3C0D07A1}" presName="conn2-1" presStyleLbl="parChTrans1D2" presStyleIdx="1" presStyleCnt="4"/>
      <dgm:spPr/>
      <dgm:t>
        <a:bodyPr/>
        <a:lstStyle/>
        <a:p>
          <a:endParaRPr lang="pt-PT"/>
        </a:p>
      </dgm:t>
    </dgm:pt>
    <dgm:pt modelId="{3A22B09B-C978-4ABB-A29A-D46F55D9EBB5}" type="pres">
      <dgm:prSet presAssocID="{4DC1CCFA-FE67-4E33-BB72-BBCF3C0D07A1}" presName="connTx" presStyleLbl="parChTrans1D2" presStyleIdx="1" presStyleCnt="4"/>
      <dgm:spPr/>
      <dgm:t>
        <a:bodyPr/>
        <a:lstStyle/>
        <a:p>
          <a:endParaRPr lang="pt-PT"/>
        </a:p>
      </dgm:t>
    </dgm:pt>
    <dgm:pt modelId="{8EB833EB-5E60-4E4C-90C3-5551468FAB99}" type="pres">
      <dgm:prSet presAssocID="{DDDF14F8-142E-4E3C-9117-928E18802F9D}" presName="root2" presStyleCnt="0"/>
      <dgm:spPr/>
    </dgm:pt>
    <dgm:pt modelId="{ED04CF3D-EA3A-4DDE-A4E5-A61497ECF63A}" type="pres">
      <dgm:prSet presAssocID="{DDDF14F8-142E-4E3C-9117-928E18802F9D}" presName="LevelTwoTextNode" presStyleLbl="node2" presStyleIdx="1" presStyleCnt="4" custScaleX="245593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9F408797-1903-41C7-B22E-CAEB0A82CA86}" type="pres">
      <dgm:prSet presAssocID="{DDDF14F8-142E-4E3C-9117-928E18802F9D}" presName="level3hierChild" presStyleCnt="0"/>
      <dgm:spPr/>
    </dgm:pt>
    <dgm:pt modelId="{42A5FF64-0624-4F2A-B3CA-05B9C6BA72FC}" type="pres">
      <dgm:prSet presAssocID="{B45CA203-BF26-4CFB-B4B1-8D40D1D6828F}" presName="conn2-1" presStyleLbl="parChTrans1D2" presStyleIdx="2" presStyleCnt="4"/>
      <dgm:spPr/>
      <dgm:t>
        <a:bodyPr/>
        <a:lstStyle/>
        <a:p>
          <a:endParaRPr lang="pt-PT"/>
        </a:p>
      </dgm:t>
    </dgm:pt>
    <dgm:pt modelId="{6B30DD14-16A9-44A9-A16C-EA27B02A45AF}" type="pres">
      <dgm:prSet presAssocID="{B45CA203-BF26-4CFB-B4B1-8D40D1D6828F}" presName="connTx" presStyleLbl="parChTrans1D2" presStyleIdx="2" presStyleCnt="4"/>
      <dgm:spPr/>
      <dgm:t>
        <a:bodyPr/>
        <a:lstStyle/>
        <a:p>
          <a:endParaRPr lang="pt-PT"/>
        </a:p>
      </dgm:t>
    </dgm:pt>
    <dgm:pt modelId="{750A18BF-C18A-47A4-9A70-DE17805B2B98}" type="pres">
      <dgm:prSet presAssocID="{36DE1901-BFAA-42DF-AD55-6E7F33B0A053}" presName="root2" presStyleCnt="0"/>
      <dgm:spPr/>
    </dgm:pt>
    <dgm:pt modelId="{4C0F7543-35A9-488B-8B66-9ED42A42DE9D}" type="pres">
      <dgm:prSet presAssocID="{36DE1901-BFAA-42DF-AD55-6E7F33B0A053}" presName="LevelTwoTextNode" presStyleLbl="node2" presStyleIdx="2" presStyleCnt="4" custScaleX="245593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AB1F97FE-1167-40C9-A5D2-7875B1A3E07D}" type="pres">
      <dgm:prSet presAssocID="{36DE1901-BFAA-42DF-AD55-6E7F33B0A053}" presName="level3hierChild" presStyleCnt="0"/>
      <dgm:spPr/>
    </dgm:pt>
    <dgm:pt modelId="{082BE298-2A0A-41F9-A186-21E62997848D}" type="pres">
      <dgm:prSet presAssocID="{925A1F23-4BF8-4BA6-B0B0-51C2CD637327}" presName="conn2-1" presStyleLbl="parChTrans1D2" presStyleIdx="3" presStyleCnt="4"/>
      <dgm:spPr/>
      <dgm:t>
        <a:bodyPr/>
        <a:lstStyle/>
        <a:p>
          <a:endParaRPr lang="pt-PT"/>
        </a:p>
      </dgm:t>
    </dgm:pt>
    <dgm:pt modelId="{CAAF82BC-37CC-4653-9E2F-13A738D0E31C}" type="pres">
      <dgm:prSet presAssocID="{925A1F23-4BF8-4BA6-B0B0-51C2CD637327}" presName="connTx" presStyleLbl="parChTrans1D2" presStyleIdx="3" presStyleCnt="4"/>
      <dgm:spPr/>
      <dgm:t>
        <a:bodyPr/>
        <a:lstStyle/>
        <a:p>
          <a:endParaRPr lang="pt-PT"/>
        </a:p>
      </dgm:t>
    </dgm:pt>
    <dgm:pt modelId="{BB6BBDBE-C7C6-4FFA-A56A-ADF893BC8887}" type="pres">
      <dgm:prSet presAssocID="{D9254F6D-98FD-45C9-AE44-DEED07986775}" presName="root2" presStyleCnt="0"/>
      <dgm:spPr/>
    </dgm:pt>
    <dgm:pt modelId="{50BF7A64-F45F-4EAC-A6AE-FC179AC6FF4A}" type="pres">
      <dgm:prSet presAssocID="{D9254F6D-98FD-45C9-AE44-DEED07986775}" presName="LevelTwoTextNode" presStyleLbl="node2" presStyleIdx="3" presStyleCnt="4" custScaleX="245593">
        <dgm:presLayoutVars>
          <dgm:chPref val="3"/>
        </dgm:presLayoutVars>
      </dgm:prSet>
      <dgm:spPr/>
      <dgm:t>
        <a:bodyPr/>
        <a:lstStyle/>
        <a:p>
          <a:endParaRPr lang="pt-PT"/>
        </a:p>
      </dgm:t>
    </dgm:pt>
    <dgm:pt modelId="{2FBBF65E-4CD3-43F3-8B96-C147D5C63A98}" type="pres">
      <dgm:prSet presAssocID="{D9254F6D-98FD-45C9-AE44-DEED07986775}" presName="level3hierChild" presStyleCnt="0"/>
      <dgm:spPr/>
    </dgm:pt>
  </dgm:ptLst>
  <dgm:cxnLst>
    <dgm:cxn modelId="{7E1687AC-3D4B-4DDC-9DB5-F52559EE1999}" type="presOf" srcId="{36DE1901-BFAA-42DF-AD55-6E7F33B0A053}" destId="{4C0F7543-35A9-488B-8B66-9ED42A42DE9D}" srcOrd="0" destOrd="0" presId="urn:microsoft.com/office/officeart/2008/layout/HorizontalMultiLevelHierarchy"/>
    <dgm:cxn modelId="{586080BB-8D57-4D94-81FA-AB91F14CF5F9}" type="presOf" srcId="{D9254F6D-98FD-45C9-AE44-DEED07986775}" destId="{50BF7A64-F45F-4EAC-A6AE-FC179AC6FF4A}" srcOrd="0" destOrd="0" presId="urn:microsoft.com/office/officeart/2008/layout/HorizontalMultiLevelHierarchy"/>
    <dgm:cxn modelId="{52BDDEC6-9C88-4CC4-81CA-6C5144CC8E5D}" type="presOf" srcId="{925A1F23-4BF8-4BA6-B0B0-51C2CD637327}" destId="{CAAF82BC-37CC-4653-9E2F-13A738D0E31C}" srcOrd="1" destOrd="0" presId="urn:microsoft.com/office/officeart/2008/layout/HorizontalMultiLevelHierarchy"/>
    <dgm:cxn modelId="{07336F96-741D-459A-8D3C-27290A1933BF}" srcId="{B0140155-4EF7-42EE-BBE6-B058F5727C79}" destId="{36DE1901-BFAA-42DF-AD55-6E7F33B0A053}" srcOrd="2" destOrd="0" parTransId="{B45CA203-BF26-4CFB-B4B1-8D40D1D6828F}" sibTransId="{D3CD89F6-2A05-4238-82E2-1C48AF0963E8}"/>
    <dgm:cxn modelId="{04232E73-D7BC-4750-BE9A-C84A2CC309AD}" type="presOf" srcId="{E14FBBEF-D893-4C04-87FC-BA9AED97A429}" destId="{8B836743-9843-4EFA-9015-FCDA4C8BA0FF}" srcOrd="0" destOrd="0" presId="urn:microsoft.com/office/officeart/2008/layout/HorizontalMultiLevelHierarchy"/>
    <dgm:cxn modelId="{3B29BA75-17AA-48D7-AEA2-1DA9C96ED956}" type="presOf" srcId="{B45CA203-BF26-4CFB-B4B1-8D40D1D6828F}" destId="{42A5FF64-0624-4F2A-B3CA-05B9C6BA72FC}" srcOrd="0" destOrd="0" presId="urn:microsoft.com/office/officeart/2008/layout/HorizontalMultiLevelHierarchy"/>
    <dgm:cxn modelId="{F691E520-FDEF-4190-A4D3-2DC674C575A7}" srcId="{E14FBBEF-D893-4C04-87FC-BA9AED97A429}" destId="{B0140155-4EF7-42EE-BBE6-B058F5727C79}" srcOrd="0" destOrd="0" parTransId="{CE8D7880-81D9-4EF0-BC8D-AF04D693E543}" sibTransId="{2A9A68A8-ACE5-4D8B-8AA9-26BC457776CF}"/>
    <dgm:cxn modelId="{FA0C4A31-979C-4C9E-AA32-988FE2CDAE58}" type="presOf" srcId="{4DC1CCFA-FE67-4E33-BB72-BBCF3C0D07A1}" destId="{3A22B09B-C978-4ABB-A29A-D46F55D9EBB5}" srcOrd="1" destOrd="0" presId="urn:microsoft.com/office/officeart/2008/layout/HorizontalMultiLevelHierarchy"/>
    <dgm:cxn modelId="{098FAD07-0472-4230-8B5E-7BEB0E181992}" srcId="{B0140155-4EF7-42EE-BBE6-B058F5727C79}" destId="{4585E753-D177-4E4F-9B06-181B48C7BA83}" srcOrd="0" destOrd="0" parTransId="{0859D9C3-D577-4526-9789-F13262209745}" sibTransId="{38CF8666-F6FE-485A-98E8-B3229386D4B1}"/>
    <dgm:cxn modelId="{14CFFC2E-2D03-4877-8750-FB148764B298}" type="presOf" srcId="{B45CA203-BF26-4CFB-B4B1-8D40D1D6828F}" destId="{6B30DD14-16A9-44A9-A16C-EA27B02A45AF}" srcOrd="1" destOrd="0" presId="urn:microsoft.com/office/officeart/2008/layout/HorizontalMultiLevelHierarchy"/>
    <dgm:cxn modelId="{5E45DB02-BFEC-4A00-A1CF-B0D70169D190}" srcId="{B0140155-4EF7-42EE-BBE6-B058F5727C79}" destId="{DDDF14F8-142E-4E3C-9117-928E18802F9D}" srcOrd="1" destOrd="0" parTransId="{4DC1CCFA-FE67-4E33-BB72-BBCF3C0D07A1}" sibTransId="{3D26D09B-4C92-4777-82F6-DC7E0EA5BBCD}"/>
    <dgm:cxn modelId="{AA9B3B19-8DBC-40CA-9544-BBF146D88164}" type="presOf" srcId="{0859D9C3-D577-4526-9789-F13262209745}" destId="{02A7B82C-135A-48C2-8240-10DF451C7A98}" srcOrd="1" destOrd="0" presId="urn:microsoft.com/office/officeart/2008/layout/HorizontalMultiLevelHierarchy"/>
    <dgm:cxn modelId="{2E6DA5AE-1946-40D8-9A64-AD9495E99C21}" type="presOf" srcId="{4585E753-D177-4E4F-9B06-181B48C7BA83}" destId="{0F223507-4537-40D8-A315-6691476C84E5}" srcOrd="0" destOrd="0" presId="urn:microsoft.com/office/officeart/2008/layout/HorizontalMultiLevelHierarchy"/>
    <dgm:cxn modelId="{9128138E-9925-499A-9F36-24CE173ED7D6}" type="presOf" srcId="{DDDF14F8-142E-4E3C-9117-928E18802F9D}" destId="{ED04CF3D-EA3A-4DDE-A4E5-A61497ECF63A}" srcOrd="0" destOrd="0" presId="urn:microsoft.com/office/officeart/2008/layout/HorizontalMultiLevelHierarchy"/>
    <dgm:cxn modelId="{31C74D74-C000-41F7-949D-E91ED01891F1}" type="presOf" srcId="{B0140155-4EF7-42EE-BBE6-B058F5727C79}" destId="{16B10253-94DD-4EE1-907A-74D8C494CD43}" srcOrd="0" destOrd="0" presId="urn:microsoft.com/office/officeart/2008/layout/HorizontalMultiLevelHierarchy"/>
    <dgm:cxn modelId="{9F190771-7335-4DA3-BF8F-EDB0980AB189}" type="presOf" srcId="{4DC1CCFA-FE67-4E33-BB72-BBCF3C0D07A1}" destId="{D6C059D2-C904-4861-9416-7818032D44BD}" srcOrd="0" destOrd="0" presId="urn:microsoft.com/office/officeart/2008/layout/HorizontalMultiLevelHierarchy"/>
    <dgm:cxn modelId="{E160C887-D308-42C2-83EA-5B599A837291}" type="presOf" srcId="{0859D9C3-D577-4526-9789-F13262209745}" destId="{6B5544B4-CAC1-4035-815C-128B4EECBDA9}" srcOrd="0" destOrd="0" presId="urn:microsoft.com/office/officeart/2008/layout/HorizontalMultiLevelHierarchy"/>
    <dgm:cxn modelId="{E9589F6D-AF42-47C7-BA83-4EED8EE05C85}" srcId="{B0140155-4EF7-42EE-BBE6-B058F5727C79}" destId="{D9254F6D-98FD-45C9-AE44-DEED07986775}" srcOrd="3" destOrd="0" parTransId="{925A1F23-4BF8-4BA6-B0B0-51C2CD637327}" sibTransId="{F113E6D4-5C0B-4FAC-88C7-770DF5399135}"/>
    <dgm:cxn modelId="{45BA23F7-C952-49BC-B5FB-24CAA075BD26}" type="presOf" srcId="{925A1F23-4BF8-4BA6-B0B0-51C2CD637327}" destId="{082BE298-2A0A-41F9-A186-21E62997848D}" srcOrd="0" destOrd="0" presId="urn:microsoft.com/office/officeart/2008/layout/HorizontalMultiLevelHierarchy"/>
    <dgm:cxn modelId="{B4143422-819B-403A-A1D6-7D1007AADDDB}" type="presParOf" srcId="{8B836743-9843-4EFA-9015-FCDA4C8BA0FF}" destId="{796CDD92-ED02-4765-9FD6-EDFF5A366D3E}" srcOrd="0" destOrd="0" presId="urn:microsoft.com/office/officeart/2008/layout/HorizontalMultiLevelHierarchy"/>
    <dgm:cxn modelId="{62175929-AA7A-455C-913C-1AAC76EF261F}" type="presParOf" srcId="{796CDD92-ED02-4765-9FD6-EDFF5A366D3E}" destId="{16B10253-94DD-4EE1-907A-74D8C494CD43}" srcOrd="0" destOrd="0" presId="urn:microsoft.com/office/officeart/2008/layout/HorizontalMultiLevelHierarchy"/>
    <dgm:cxn modelId="{89B11895-02B9-41A5-881E-4DF326F6754D}" type="presParOf" srcId="{796CDD92-ED02-4765-9FD6-EDFF5A366D3E}" destId="{36056A6E-704B-44D4-AA83-C18E5EB84407}" srcOrd="1" destOrd="0" presId="urn:microsoft.com/office/officeart/2008/layout/HorizontalMultiLevelHierarchy"/>
    <dgm:cxn modelId="{70F016A2-8E8F-4687-BC5D-A88232829E82}" type="presParOf" srcId="{36056A6E-704B-44D4-AA83-C18E5EB84407}" destId="{6B5544B4-CAC1-4035-815C-128B4EECBDA9}" srcOrd="0" destOrd="0" presId="urn:microsoft.com/office/officeart/2008/layout/HorizontalMultiLevelHierarchy"/>
    <dgm:cxn modelId="{810F61F8-2450-4023-8012-961B605FB33A}" type="presParOf" srcId="{6B5544B4-CAC1-4035-815C-128B4EECBDA9}" destId="{02A7B82C-135A-48C2-8240-10DF451C7A98}" srcOrd="0" destOrd="0" presId="urn:microsoft.com/office/officeart/2008/layout/HorizontalMultiLevelHierarchy"/>
    <dgm:cxn modelId="{ED9B0EE1-D850-487A-9C2D-94E91C9AF600}" type="presParOf" srcId="{36056A6E-704B-44D4-AA83-C18E5EB84407}" destId="{E7B595F0-2F99-47EA-A9EC-8A29BE3E229E}" srcOrd="1" destOrd="0" presId="urn:microsoft.com/office/officeart/2008/layout/HorizontalMultiLevelHierarchy"/>
    <dgm:cxn modelId="{63C02FF0-CAAE-43BD-990A-A0E79E76FD63}" type="presParOf" srcId="{E7B595F0-2F99-47EA-A9EC-8A29BE3E229E}" destId="{0F223507-4537-40D8-A315-6691476C84E5}" srcOrd="0" destOrd="0" presId="urn:microsoft.com/office/officeart/2008/layout/HorizontalMultiLevelHierarchy"/>
    <dgm:cxn modelId="{8726065A-F9CD-44D6-AFC4-24D7ABE5DFA6}" type="presParOf" srcId="{E7B595F0-2F99-47EA-A9EC-8A29BE3E229E}" destId="{E4F7972D-F679-475F-8892-F67306DF274E}" srcOrd="1" destOrd="0" presId="urn:microsoft.com/office/officeart/2008/layout/HorizontalMultiLevelHierarchy"/>
    <dgm:cxn modelId="{BBE18C5E-3E46-4645-8A71-790D2226609E}" type="presParOf" srcId="{36056A6E-704B-44D4-AA83-C18E5EB84407}" destId="{D6C059D2-C904-4861-9416-7818032D44BD}" srcOrd="2" destOrd="0" presId="urn:microsoft.com/office/officeart/2008/layout/HorizontalMultiLevelHierarchy"/>
    <dgm:cxn modelId="{0FDA5D38-332D-4A89-8E16-ACEBC606727F}" type="presParOf" srcId="{D6C059D2-C904-4861-9416-7818032D44BD}" destId="{3A22B09B-C978-4ABB-A29A-D46F55D9EBB5}" srcOrd="0" destOrd="0" presId="urn:microsoft.com/office/officeart/2008/layout/HorizontalMultiLevelHierarchy"/>
    <dgm:cxn modelId="{BD09A254-57A8-4021-9537-39B63A1661EC}" type="presParOf" srcId="{36056A6E-704B-44D4-AA83-C18E5EB84407}" destId="{8EB833EB-5E60-4E4C-90C3-5551468FAB99}" srcOrd="3" destOrd="0" presId="urn:microsoft.com/office/officeart/2008/layout/HorizontalMultiLevelHierarchy"/>
    <dgm:cxn modelId="{680E4D8D-2C7E-4CDD-92C8-868EB07E4371}" type="presParOf" srcId="{8EB833EB-5E60-4E4C-90C3-5551468FAB99}" destId="{ED04CF3D-EA3A-4DDE-A4E5-A61497ECF63A}" srcOrd="0" destOrd="0" presId="urn:microsoft.com/office/officeart/2008/layout/HorizontalMultiLevelHierarchy"/>
    <dgm:cxn modelId="{5AFDC6DD-F871-4E64-A0AF-CA0967F755D4}" type="presParOf" srcId="{8EB833EB-5E60-4E4C-90C3-5551468FAB99}" destId="{9F408797-1903-41C7-B22E-CAEB0A82CA86}" srcOrd="1" destOrd="0" presId="urn:microsoft.com/office/officeart/2008/layout/HorizontalMultiLevelHierarchy"/>
    <dgm:cxn modelId="{D2A8E4CE-6C6F-4704-8ED3-0EFEB259732D}" type="presParOf" srcId="{36056A6E-704B-44D4-AA83-C18E5EB84407}" destId="{42A5FF64-0624-4F2A-B3CA-05B9C6BA72FC}" srcOrd="4" destOrd="0" presId="urn:microsoft.com/office/officeart/2008/layout/HorizontalMultiLevelHierarchy"/>
    <dgm:cxn modelId="{21361B55-E71F-4DFD-B468-43D672ABF950}" type="presParOf" srcId="{42A5FF64-0624-4F2A-B3CA-05B9C6BA72FC}" destId="{6B30DD14-16A9-44A9-A16C-EA27B02A45AF}" srcOrd="0" destOrd="0" presId="urn:microsoft.com/office/officeart/2008/layout/HorizontalMultiLevelHierarchy"/>
    <dgm:cxn modelId="{46830A27-F7DB-41D1-B924-7885D45C9865}" type="presParOf" srcId="{36056A6E-704B-44D4-AA83-C18E5EB84407}" destId="{750A18BF-C18A-47A4-9A70-DE17805B2B98}" srcOrd="5" destOrd="0" presId="urn:microsoft.com/office/officeart/2008/layout/HorizontalMultiLevelHierarchy"/>
    <dgm:cxn modelId="{DB242397-BF77-4B22-BBCA-D4060C6E851D}" type="presParOf" srcId="{750A18BF-C18A-47A4-9A70-DE17805B2B98}" destId="{4C0F7543-35A9-488B-8B66-9ED42A42DE9D}" srcOrd="0" destOrd="0" presId="urn:microsoft.com/office/officeart/2008/layout/HorizontalMultiLevelHierarchy"/>
    <dgm:cxn modelId="{6274C71C-C699-485D-BFBD-289EB9CE11C3}" type="presParOf" srcId="{750A18BF-C18A-47A4-9A70-DE17805B2B98}" destId="{AB1F97FE-1167-40C9-A5D2-7875B1A3E07D}" srcOrd="1" destOrd="0" presId="urn:microsoft.com/office/officeart/2008/layout/HorizontalMultiLevelHierarchy"/>
    <dgm:cxn modelId="{0B5239EB-0840-46E4-B233-4E80AEABE285}" type="presParOf" srcId="{36056A6E-704B-44D4-AA83-C18E5EB84407}" destId="{082BE298-2A0A-41F9-A186-21E62997848D}" srcOrd="6" destOrd="0" presId="urn:microsoft.com/office/officeart/2008/layout/HorizontalMultiLevelHierarchy"/>
    <dgm:cxn modelId="{D9EEB218-4AAA-4BDF-B7E2-767CA6B8ACBC}" type="presParOf" srcId="{082BE298-2A0A-41F9-A186-21E62997848D}" destId="{CAAF82BC-37CC-4653-9E2F-13A738D0E31C}" srcOrd="0" destOrd="0" presId="urn:microsoft.com/office/officeart/2008/layout/HorizontalMultiLevelHierarchy"/>
    <dgm:cxn modelId="{174A4EF5-EDD5-46B6-9BEC-274D53CA7376}" type="presParOf" srcId="{36056A6E-704B-44D4-AA83-C18E5EB84407}" destId="{BB6BBDBE-C7C6-4FFA-A56A-ADF893BC8887}" srcOrd="7" destOrd="0" presId="urn:microsoft.com/office/officeart/2008/layout/HorizontalMultiLevelHierarchy"/>
    <dgm:cxn modelId="{A1720A93-E9A0-41B0-A8BE-225D8F0CA91C}" type="presParOf" srcId="{BB6BBDBE-C7C6-4FFA-A56A-ADF893BC8887}" destId="{50BF7A64-F45F-4EAC-A6AE-FC179AC6FF4A}" srcOrd="0" destOrd="0" presId="urn:microsoft.com/office/officeart/2008/layout/HorizontalMultiLevelHierarchy"/>
    <dgm:cxn modelId="{05B4CF24-2698-44D0-AB48-895F422AAE5A}" type="presParOf" srcId="{BB6BBDBE-C7C6-4FFA-A56A-ADF893BC8887}" destId="{2FBBF65E-4CD3-43F3-8B96-C147D5C63A98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14FBBEF-D893-4C04-87FC-BA9AED97A429}" type="doc">
      <dgm:prSet loTypeId="urn:microsoft.com/office/officeart/2005/8/layout/vList6" loCatId="list" qsTypeId="urn:microsoft.com/office/officeart/2005/8/quickstyle/simple1#6" qsCatId="simple" csTypeId="urn:microsoft.com/office/officeart/2005/8/colors/accent2_5" csCatId="accent2" phldr="1"/>
      <dgm:spPr/>
      <dgm:t>
        <a:bodyPr/>
        <a:lstStyle/>
        <a:p>
          <a:endParaRPr lang="pt-PT"/>
        </a:p>
      </dgm:t>
    </dgm:pt>
    <dgm:pt modelId="{4585E753-D177-4E4F-9B06-181B48C7BA83}">
      <dgm:prSet custT="1"/>
      <dgm:spPr/>
      <dgm:t>
        <a:bodyPr/>
        <a:lstStyle/>
        <a:p>
          <a:pPr algn="l"/>
          <a:r>
            <a:rPr lang="pt-PT" sz="1800" b="0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Acréscimo de Vol.Negócios/ unidade Incentivo – 4,3€</a:t>
          </a:r>
          <a:endParaRPr lang="pt-PT" sz="1800" b="0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0859D9C3-D577-4526-9789-F13262209745}" type="parTrans" cxnId="{098FAD07-0472-4230-8B5E-7BEB0E181992}">
      <dgm:prSet/>
      <dgm:spPr/>
      <dgm:t>
        <a:bodyPr/>
        <a:lstStyle/>
        <a:p>
          <a:endParaRPr lang="pt-PT"/>
        </a:p>
      </dgm:t>
    </dgm:pt>
    <dgm:pt modelId="{38CF8666-F6FE-485A-98E8-B3229386D4B1}" type="sibTrans" cxnId="{098FAD07-0472-4230-8B5E-7BEB0E181992}">
      <dgm:prSet/>
      <dgm:spPr/>
      <dgm:t>
        <a:bodyPr/>
        <a:lstStyle/>
        <a:p>
          <a:endParaRPr lang="pt-PT"/>
        </a:p>
      </dgm:t>
    </dgm:pt>
    <dgm:pt modelId="{B0140155-4EF7-42EE-BBE6-B058F5727C79}">
      <dgm:prSet custT="1"/>
      <dgm:spPr/>
      <dgm:t>
        <a:bodyPr/>
        <a:lstStyle/>
        <a:p>
          <a:r>
            <a:rPr lang="pt-PT" sz="2000" kern="1200" dirty="0" smtClean="0">
              <a:latin typeface="Arial" pitchFamily="34" charset="0"/>
              <a:cs typeface="Arial" pitchFamily="34" charset="0"/>
            </a:rPr>
            <a:t>Aumento Produtividade</a:t>
          </a:r>
          <a:endParaRPr lang="pt-PT" sz="2000" b="1" kern="1200" dirty="0">
            <a:solidFill>
              <a:schemeClr val="bg1"/>
            </a:solidFill>
            <a:latin typeface="Arial" pitchFamily="34" charset="0"/>
            <a:ea typeface="Geneva" charset="0"/>
            <a:cs typeface="Arial" pitchFamily="34" charset="0"/>
          </a:endParaRPr>
        </a:p>
      </dgm:t>
    </dgm:pt>
    <dgm:pt modelId="{CE8D7880-81D9-4EF0-BC8D-AF04D693E543}" type="parTrans" cxnId="{F691E520-FDEF-4190-A4D3-2DC674C575A7}">
      <dgm:prSet/>
      <dgm:spPr/>
      <dgm:t>
        <a:bodyPr/>
        <a:lstStyle/>
        <a:p>
          <a:endParaRPr lang="pt-PT"/>
        </a:p>
      </dgm:t>
    </dgm:pt>
    <dgm:pt modelId="{2A9A68A8-ACE5-4D8B-8AA9-26BC457776CF}" type="sibTrans" cxnId="{F691E520-FDEF-4190-A4D3-2DC674C575A7}">
      <dgm:prSet/>
      <dgm:spPr/>
      <dgm:t>
        <a:bodyPr/>
        <a:lstStyle/>
        <a:p>
          <a:endParaRPr lang="pt-PT"/>
        </a:p>
      </dgm:t>
    </dgm:pt>
    <dgm:pt modelId="{E099C35B-83F6-4C50-AB46-7A4BAFB55ADF}">
      <dgm:prSet custT="1"/>
      <dgm:spPr/>
      <dgm:t>
        <a:bodyPr/>
        <a:lstStyle/>
        <a:p>
          <a:r>
            <a:rPr lang="pt-PT" sz="2000" kern="1200" dirty="0" smtClean="0">
              <a:latin typeface="Arial" pitchFamily="34" charset="0"/>
              <a:cs typeface="Arial" pitchFamily="34" charset="0"/>
            </a:rPr>
            <a:t>Aumento Exportações</a:t>
          </a:r>
          <a:endParaRPr lang="pt-PT" sz="2000" kern="1200" dirty="0">
            <a:latin typeface="Arial" pitchFamily="34" charset="0"/>
            <a:cs typeface="Arial" pitchFamily="34" charset="0"/>
          </a:endParaRPr>
        </a:p>
      </dgm:t>
    </dgm:pt>
    <dgm:pt modelId="{F618ABE4-2707-4524-BC4D-52E693D2643B}" type="parTrans" cxnId="{9F55E3F1-C838-4042-9BA0-BF5CD07D42D2}">
      <dgm:prSet/>
      <dgm:spPr/>
      <dgm:t>
        <a:bodyPr/>
        <a:lstStyle/>
        <a:p>
          <a:endParaRPr lang="pt-PT"/>
        </a:p>
      </dgm:t>
    </dgm:pt>
    <dgm:pt modelId="{5D119D81-9513-4ABE-99E6-3824F53401EA}" type="sibTrans" cxnId="{9F55E3F1-C838-4042-9BA0-BF5CD07D42D2}">
      <dgm:prSet/>
      <dgm:spPr/>
      <dgm:t>
        <a:bodyPr/>
        <a:lstStyle/>
        <a:p>
          <a:endParaRPr lang="pt-PT"/>
        </a:p>
      </dgm:t>
    </dgm:pt>
    <dgm:pt modelId="{93AE06AF-545C-4D83-AAB6-639A21330091}">
      <dgm:prSet custT="1"/>
      <dgm:spPr/>
      <dgm:t>
        <a:bodyPr/>
        <a:lstStyle/>
        <a:p>
          <a:r>
            <a:rPr lang="pt-PT" sz="2000" kern="1200" dirty="0" smtClean="0">
              <a:latin typeface="Arial" pitchFamily="34" charset="0"/>
              <a:cs typeface="Arial" pitchFamily="34" charset="0"/>
            </a:rPr>
            <a:t>Criação</a:t>
          </a:r>
        </a:p>
        <a:p>
          <a:r>
            <a:rPr lang="pt-PT" sz="2000" kern="1200" dirty="0" smtClean="0">
              <a:latin typeface="Arial" pitchFamily="34" charset="0"/>
              <a:cs typeface="Arial" pitchFamily="34" charset="0"/>
            </a:rPr>
            <a:t> Emprego</a:t>
          </a:r>
          <a:endParaRPr lang="pt-PT" sz="2000" kern="1200" dirty="0">
            <a:latin typeface="Arial" pitchFamily="34" charset="0"/>
            <a:cs typeface="Arial" pitchFamily="34" charset="0"/>
          </a:endParaRPr>
        </a:p>
      </dgm:t>
    </dgm:pt>
    <dgm:pt modelId="{BB056337-08C0-4C91-A0A6-8826B10C8358}" type="parTrans" cxnId="{9AFAAFEF-7926-4216-A31C-21E73C079556}">
      <dgm:prSet/>
      <dgm:spPr/>
      <dgm:t>
        <a:bodyPr/>
        <a:lstStyle/>
        <a:p>
          <a:endParaRPr lang="pt-PT"/>
        </a:p>
      </dgm:t>
    </dgm:pt>
    <dgm:pt modelId="{380CF6D1-65B3-4295-91DC-9DD68BB030E0}" type="sibTrans" cxnId="{9AFAAFEF-7926-4216-A31C-21E73C079556}">
      <dgm:prSet/>
      <dgm:spPr/>
      <dgm:t>
        <a:bodyPr/>
        <a:lstStyle/>
        <a:p>
          <a:endParaRPr lang="pt-PT"/>
        </a:p>
      </dgm:t>
    </dgm:pt>
    <dgm:pt modelId="{5BAC368F-E2E3-47BF-9856-3A69675D65D4}">
      <dgm:prSet custT="1"/>
      <dgm:spPr/>
      <dgm:t>
        <a:bodyPr/>
        <a:lstStyle/>
        <a:p>
          <a:pPr algn="l"/>
          <a:r>
            <a:rPr lang="pt-PT" sz="1800" b="0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Acréscimo de VAB/unidade Incentivo – 1,5€</a:t>
          </a:r>
          <a:endParaRPr lang="pt-PT" sz="1800" b="0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B3E8A012-F7BE-4FEF-9501-8D8706BCD6BA}" type="parTrans" cxnId="{16E666E9-6FC2-4C89-9B55-DDF8113E660F}">
      <dgm:prSet/>
      <dgm:spPr/>
      <dgm:t>
        <a:bodyPr/>
        <a:lstStyle/>
        <a:p>
          <a:endParaRPr lang="pt-PT"/>
        </a:p>
      </dgm:t>
    </dgm:pt>
    <dgm:pt modelId="{AFDC6F23-28A5-4EB6-A667-817F59818652}" type="sibTrans" cxnId="{16E666E9-6FC2-4C89-9B55-DDF8113E660F}">
      <dgm:prSet/>
      <dgm:spPr/>
      <dgm:t>
        <a:bodyPr/>
        <a:lstStyle/>
        <a:p>
          <a:endParaRPr lang="pt-PT"/>
        </a:p>
      </dgm:t>
    </dgm:pt>
    <dgm:pt modelId="{3ECCBDB5-97E3-491D-B71B-6605A8CB4CB9}">
      <dgm:prSet/>
      <dgm:spPr/>
      <dgm:t>
        <a:bodyPr/>
        <a:lstStyle/>
        <a:p>
          <a:r>
            <a:rPr lang="pt-PT" b="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Acréscimo de </a:t>
          </a:r>
          <a:r>
            <a:rPr lang="pt-PT" b="0" dirty="0" smtClean="0">
              <a:solidFill>
                <a:srgbClr val="991324"/>
              </a:solidFill>
              <a:latin typeface="Arial" charset="0"/>
              <a:cs typeface="Arial" charset="0"/>
            </a:rPr>
            <a:t>Volume de Negócios Internacional – 78%</a:t>
          </a:r>
          <a:endParaRPr lang="pt-PT" dirty="0"/>
        </a:p>
      </dgm:t>
    </dgm:pt>
    <dgm:pt modelId="{5CD6191F-6047-487F-848F-C1D479979274}" type="parTrans" cxnId="{925876A4-0649-4F7F-87A8-CA0675D8CCBF}">
      <dgm:prSet/>
      <dgm:spPr/>
      <dgm:t>
        <a:bodyPr/>
        <a:lstStyle/>
        <a:p>
          <a:endParaRPr lang="pt-PT"/>
        </a:p>
      </dgm:t>
    </dgm:pt>
    <dgm:pt modelId="{33EE3124-B985-4046-AB48-4948A4F73912}" type="sibTrans" cxnId="{925876A4-0649-4F7F-87A8-CA0675D8CCBF}">
      <dgm:prSet/>
      <dgm:spPr/>
      <dgm:t>
        <a:bodyPr/>
        <a:lstStyle/>
        <a:p>
          <a:endParaRPr lang="pt-PT"/>
        </a:p>
      </dgm:t>
    </dgm:pt>
    <dgm:pt modelId="{054AC40D-52BE-40EB-94B9-8FE7BA4C7750}">
      <dgm:prSet/>
      <dgm:spPr/>
      <dgm:t>
        <a:bodyPr/>
        <a:lstStyle/>
        <a:p>
          <a:r>
            <a:rPr lang="pt-PT" b="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Acréscimo Exportações/unid. Incentivo – 3,6€</a:t>
          </a:r>
          <a:endParaRPr lang="pt-PT" b="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gm:t>
    </dgm:pt>
    <dgm:pt modelId="{17348FBA-B838-4317-B5EE-55EA84F01FD4}" type="parTrans" cxnId="{9E8EA19E-40B2-4DB2-B8D4-BB5F4B470A2E}">
      <dgm:prSet/>
      <dgm:spPr/>
      <dgm:t>
        <a:bodyPr/>
        <a:lstStyle/>
        <a:p>
          <a:endParaRPr lang="pt-PT"/>
        </a:p>
      </dgm:t>
    </dgm:pt>
    <dgm:pt modelId="{4CC450BF-601B-4E49-9144-5E78E555AA0B}" type="sibTrans" cxnId="{9E8EA19E-40B2-4DB2-B8D4-BB5F4B470A2E}">
      <dgm:prSet/>
      <dgm:spPr/>
      <dgm:t>
        <a:bodyPr/>
        <a:lstStyle/>
        <a:p>
          <a:endParaRPr lang="pt-PT"/>
        </a:p>
      </dgm:t>
    </dgm:pt>
    <dgm:pt modelId="{4B546077-3A97-4414-BAA0-E0871A710528}">
      <dgm:prSet/>
      <dgm:spPr/>
      <dgm:t>
        <a:bodyPr/>
        <a:lstStyle/>
        <a:p>
          <a:r>
            <a:rPr lang="pt-PT" b="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Acréscimo Emprego </a:t>
          </a:r>
          <a:r>
            <a:rPr lang="pt-PT" b="0" dirty="0" smtClean="0">
              <a:solidFill>
                <a:srgbClr val="991324"/>
              </a:solidFill>
              <a:latin typeface="Arial" charset="0"/>
              <a:cs typeface="Arial" charset="0"/>
            </a:rPr>
            <a:t>– 15%</a:t>
          </a:r>
          <a:endParaRPr lang="pt-PT" dirty="0"/>
        </a:p>
      </dgm:t>
    </dgm:pt>
    <dgm:pt modelId="{C8DFAC3D-944D-4CC4-B3D1-77A75610CE36}" type="parTrans" cxnId="{4B60FC76-51E1-4CE2-825B-62F7A0D29664}">
      <dgm:prSet/>
      <dgm:spPr/>
      <dgm:t>
        <a:bodyPr/>
        <a:lstStyle/>
        <a:p>
          <a:endParaRPr lang="pt-PT"/>
        </a:p>
      </dgm:t>
    </dgm:pt>
    <dgm:pt modelId="{71105EA8-8C5F-4944-A053-B1D804AE4CE3}" type="sibTrans" cxnId="{4B60FC76-51E1-4CE2-825B-62F7A0D29664}">
      <dgm:prSet/>
      <dgm:spPr/>
      <dgm:t>
        <a:bodyPr/>
        <a:lstStyle/>
        <a:p>
          <a:endParaRPr lang="pt-PT"/>
        </a:p>
      </dgm:t>
    </dgm:pt>
    <dgm:pt modelId="{A0C1C383-214C-4A8C-947B-F48DF0EB0FD3}">
      <dgm:prSet/>
      <dgm:spPr/>
      <dgm:t>
        <a:bodyPr/>
        <a:lstStyle/>
        <a:p>
          <a:r>
            <a:rPr lang="pt-PT" b="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14 mil postos de trabalho</a:t>
          </a:r>
          <a:endParaRPr lang="pt-PT" dirty="0"/>
        </a:p>
      </dgm:t>
    </dgm:pt>
    <dgm:pt modelId="{BA544B8D-9C4B-4D36-9964-65639207AC00}" type="parTrans" cxnId="{C99BBC3F-6060-4E18-839B-FE06C98FADE9}">
      <dgm:prSet/>
      <dgm:spPr/>
      <dgm:t>
        <a:bodyPr/>
        <a:lstStyle/>
        <a:p>
          <a:endParaRPr lang="pt-PT"/>
        </a:p>
      </dgm:t>
    </dgm:pt>
    <dgm:pt modelId="{F0A45CEE-C1FF-4E9B-8416-079D74FA972B}" type="sibTrans" cxnId="{C99BBC3F-6060-4E18-839B-FE06C98FADE9}">
      <dgm:prSet/>
      <dgm:spPr/>
      <dgm:t>
        <a:bodyPr/>
        <a:lstStyle/>
        <a:p>
          <a:endParaRPr lang="pt-PT"/>
        </a:p>
      </dgm:t>
    </dgm:pt>
    <dgm:pt modelId="{30F8DC95-7FAB-4CE0-8B91-2FB55FBB7551}" type="pres">
      <dgm:prSet presAssocID="{E14FBBEF-D893-4C04-87FC-BA9AED97A429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pt-PT"/>
        </a:p>
      </dgm:t>
    </dgm:pt>
    <dgm:pt modelId="{B1270D65-8388-4C04-B257-4A5054B85E9E}" type="pres">
      <dgm:prSet presAssocID="{B0140155-4EF7-42EE-BBE6-B058F5727C79}" presName="linNode" presStyleCnt="0"/>
      <dgm:spPr/>
    </dgm:pt>
    <dgm:pt modelId="{5EFDDC35-E431-4A83-8F2E-375C0CE20219}" type="pres">
      <dgm:prSet presAssocID="{B0140155-4EF7-42EE-BBE6-B058F5727C79}" presName="parent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F4A0939D-9A33-442F-A4A6-685470FD1F07}" type="pres">
      <dgm:prSet presAssocID="{B0140155-4EF7-42EE-BBE6-B058F5727C79}" presName="childShp" presStyleLbl="bgAccFollowNode1" presStyleIdx="0" presStyleCnt="3" custScaleX="147085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2EA06EF0-A145-4DA9-9A65-1A8C53799CA1}" type="pres">
      <dgm:prSet presAssocID="{2A9A68A8-ACE5-4D8B-8AA9-26BC457776CF}" presName="spacing" presStyleCnt="0"/>
      <dgm:spPr/>
    </dgm:pt>
    <dgm:pt modelId="{0F9AAB71-2632-4740-BE53-82857C85ECC0}" type="pres">
      <dgm:prSet presAssocID="{E099C35B-83F6-4C50-AB46-7A4BAFB55ADF}" presName="linNode" presStyleCnt="0"/>
      <dgm:spPr/>
    </dgm:pt>
    <dgm:pt modelId="{494A905B-51B7-4944-9F3D-29C7C303FBDC}" type="pres">
      <dgm:prSet presAssocID="{E099C35B-83F6-4C50-AB46-7A4BAFB55ADF}" presName="parentShp" presStyleLbl="node1" presStyleIdx="1" presStyleCnt="3" custScaleX="98800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840D4F23-41FD-4CF5-816E-B09FD4C38733}" type="pres">
      <dgm:prSet presAssocID="{E099C35B-83F6-4C50-AB46-7A4BAFB55ADF}" presName="childShp" presStyleLbl="bgAccFollowNode1" presStyleIdx="1" presStyleCnt="3" custScaleX="146659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5C18616B-C0A2-4E84-999F-D589B39CB06B}" type="pres">
      <dgm:prSet presAssocID="{5D119D81-9513-4ABE-99E6-3824F53401EA}" presName="spacing" presStyleCnt="0"/>
      <dgm:spPr/>
    </dgm:pt>
    <dgm:pt modelId="{AEAF9AEE-F62B-43DE-800A-D4C5473B28BE}" type="pres">
      <dgm:prSet presAssocID="{93AE06AF-545C-4D83-AAB6-639A21330091}" presName="linNode" presStyleCnt="0"/>
      <dgm:spPr/>
    </dgm:pt>
    <dgm:pt modelId="{8996B770-E6EB-4AB0-8164-AFAD586BAFBD}" type="pres">
      <dgm:prSet presAssocID="{93AE06AF-545C-4D83-AAB6-639A21330091}" presName="parent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C997485D-FCC1-4219-866A-B798D13BA0ED}" type="pres">
      <dgm:prSet presAssocID="{93AE06AF-545C-4D83-AAB6-639A21330091}" presName="childShp" presStyleLbl="bgAccFollowNode1" presStyleIdx="2" presStyleCnt="3" custScaleX="147254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</dgm:ptLst>
  <dgm:cxnLst>
    <dgm:cxn modelId="{99DD1B7D-2FEF-47D6-9569-3B78B6EEA448}" type="presOf" srcId="{4585E753-D177-4E4F-9B06-181B48C7BA83}" destId="{F4A0939D-9A33-442F-A4A6-685470FD1F07}" srcOrd="0" destOrd="0" presId="urn:microsoft.com/office/officeart/2005/8/layout/vList6"/>
    <dgm:cxn modelId="{2FD96646-5C00-4363-AB81-B580E5A9479B}" type="presOf" srcId="{3ECCBDB5-97E3-491D-B71B-6605A8CB4CB9}" destId="{840D4F23-41FD-4CF5-816E-B09FD4C38733}" srcOrd="0" destOrd="0" presId="urn:microsoft.com/office/officeart/2005/8/layout/vList6"/>
    <dgm:cxn modelId="{F925A2A8-1D3E-4853-BABE-E1354487EF93}" type="presOf" srcId="{054AC40D-52BE-40EB-94B9-8FE7BA4C7750}" destId="{840D4F23-41FD-4CF5-816E-B09FD4C38733}" srcOrd="0" destOrd="1" presId="urn:microsoft.com/office/officeart/2005/8/layout/vList6"/>
    <dgm:cxn modelId="{A0E434B9-BDBB-4096-BAC2-D4922C60199B}" type="presOf" srcId="{5BAC368F-E2E3-47BF-9856-3A69675D65D4}" destId="{F4A0939D-9A33-442F-A4A6-685470FD1F07}" srcOrd="0" destOrd="1" presId="urn:microsoft.com/office/officeart/2005/8/layout/vList6"/>
    <dgm:cxn modelId="{925876A4-0649-4F7F-87A8-CA0675D8CCBF}" srcId="{E099C35B-83F6-4C50-AB46-7A4BAFB55ADF}" destId="{3ECCBDB5-97E3-491D-B71B-6605A8CB4CB9}" srcOrd="0" destOrd="0" parTransId="{5CD6191F-6047-487F-848F-C1D479979274}" sibTransId="{33EE3124-B985-4046-AB48-4948A4F73912}"/>
    <dgm:cxn modelId="{9E8EA19E-40B2-4DB2-B8D4-BB5F4B470A2E}" srcId="{E099C35B-83F6-4C50-AB46-7A4BAFB55ADF}" destId="{054AC40D-52BE-40EB-94B9-8FE7BA4C7750}" srcOrd="1" destOrd="0" parTransId="{17348FBA-B838-4317-B5EE-55EA84F01FD4}" sibTransId="{4CC450BF-601B-4E49-9144-5E78E555AA0B}"/>
    <dgm:cxn modelId="{7F2A5802-AE99-4447-8778-2E710BDFC0EF}" type="presOf" srcId="{E099C35B-83F6-4C50-AB46-7A4BAFB55ADF}" destId="{494A905B-51B7-4944-9F3D-29C7C303FBDC}" srcOrd="0" destOrd="0" presId="urn:microsoft.com/office/officeart/2005/8/layout/vList6"/>
    <dgm:cxn modelId="{C99BBC3F-6060-4E18-839B-FE06C98FADE9}" srcId="{93AE06AF-545C-4D83-AAB6-639A21330091}" destId="{A0C1C383-214C-4A8C-947B-F48DF0EB0FD3}" srcOrd="1" destOrd="0" parTransId="{BA544B8D-9C4B-4D36-9964-65639207AC00}" sibTransId="{F0A45CEE-C1FF-4E9B-8416-079D74FA972B}"/>
    <dgm:cxn modelId="{098FAD07-0472-4230-8B5E-7BEB0E181992}" srcId="{B0140155-4EF7-42EE-BBE6-B058F5727C79}" destId="{4585E753-D177-4E4F-9B06-181B48C7BA83}" srcOrd="0" destOrd="0" parTransId="{0859D9C3-D577-4526-9789-F13262209745}" sibTransId="{38CF8666-F6FE-485A-98E8-B3229386D4B1}"/>
    <dgm:cxn modelId="{A9A24999-6B82-40B8-B7F9-D445C0EDEEF2}" type="presOf" srcId="{93AE06AF-545C-4D83-AAB6-639A21330091}" destId="{8996B770-E6EB-4AB0-8164-AFAD586BAFBD}" srcOrd="0" destOrd="0" presId="urn:microsoft.com/office/officeart/2005/8/layout/vList6"/>
    <dgm:cxn modelId="{4B60FC76-51E1-4CE2-825B-62F7A0D29664}" srcId="{93AE06AF-545C-4D83-AAB6-639A21330091}" destId="{4B546077-3A97-4414-BAA0-E0871A710528}" srcOrd="0" destOrd="0" parTransId="{C8DFAC3D-944D-4CC4-B3D1-77A75610CE36}" sibTransId="{71105EA8-8C5F-4944-A053-B1D804AE4CE3}"/>
    <dgm:cxn modelId="{9AFAAFEF-7926-4216-A31C-21E73C079556}" srcId="{E14FBBEF-D893-4C04-87FC-BA9AED97A429}" destId="{93AE06AF-545C-4D83-AAB6-639A21330091}" srcOrd="2" destOrd="0" parTransId="{BB056337-08C0-4C91-A0A6-8826B10C8358}" sibTransId="{380CF6D1-65B3-4295-91DC-9DD68BB030E0}"/>
    <dgm:cxn modelId="{F691E520-FDEF-4190-A4D3-2DC674C575A7}" srcId="{E14FBBEF-D893-4C04-87FC-BA9AED97A429}" destId="{B0140155-4EF7-42EE-BBE6-B058F5727C79}" srcOrd="0" destOrd="0" parTransId="{CE8D7880-81D9-4EF0-BC8D-AF04D693E543}" sibTransId="{2A9A68A8-ACE5-4D8B-8AA9-26BC457776CF}"/>
    <dgm:cxn modelId="{04B6EB81-8B05-439E-8B6B-82D32FCB1898}" type="presOf" srcId="{B0140155-4EF7-42EE-BBE6-B058F5727C79}" destId="{5EFDDC35-E431-4A83-8F2E-375C0CE20219}" srcOrd="0" destOrd="0" presId="urn:microsoft.com/office/officeart/2005/8/layout/vList6"/>
    <dgm:cxn modelId="{9741E081-9069-4E77-A138-6643CB2B48CA}" type="presOf" srcId="{A0C1C383-214C-4A8C-947B-F48DF0EB0FD3}" destId="{C997485D-FCC1-4219-866A-B798D13BA0ED}" srcOrd="0" destOrd="1" presId="urn:microsoft.com/office/officeart/2005/8/layout/vList6"/>
    <dgm:cxn modelId="{612C2BD7-3299-4A3A-A535-4C0C6B1351AD}" type="presOf" srcId="{E14FBBEF-D893-4C04-87FC-BA9AED97A429}" destId="{30F8DC95-7FAB-4CE0-8B91-2FB55FBB7551}" srcOrd="0" destOrd="0" presId="urn:microsoft.com/office/officeart/2005/8/layout/vList6"/>
    <dgm:cxn modelId="{9F55E3F1-C838-4042-9BA0-BF5CD07D42D2}" srcId="{E14FBBEF-D893-4C04-87FC-BA9AED97A429}" destId="{E099C35B-83F6-4C50-AB46-7A4BAFB55ADF}" srcOrd="1" destOrd="0" parTransId="{F618ABE4-2707-4524-BC4D-52E693D2643B}" sibTransId="{5D119D81-9513-4ABE-99E6-3824F53401EA}"/>
    <dgm:cxn modelId="{1916D3D6-D9FB-4341-83F6-56CE931B1AE1}" type="presOf" srcId="{4B546077-3A97-4414-BAA0-E0871A710528}" destId="{C997485D-FCC1-4219-866A-B798D13BA0ED}" srcOrd="0" destOrd="0" presId="urn:microsoft.com/office/officeart/2005/8/layout/vList6"/>
    <dgm:cxn modelId="{16E666E9-6FC2-4C89-9B55-DDF8113E660F}" srcId="{B0140155-4EF7-42EE-BBE6-B058F5727C79}" destId="{5BAC368F-E2E3-47BF-9856-3A69675D65D4}" srcOrd="1" destOrd="0" parTransId="{B3E8A012-F7BE-4FEF-9501-8D8706BCD6BA}" sibTransId="{AFDC6F23-28A5-4EB6-A667-817F59818652}"/>
    <dgm:cxn modelId="{915014C5-94BA-44D6-B967-F592FCA7ABDA}" type="presParOf" srcId="{30F8DC95-7FAB-4CE0-8B91-2FB55FBB7551}" destId="{B1270D65-8388-4C04-B257-4A5054B85E9E}" srcOrd="0" destOrd="0" presId="urn:microsoft.com/office/officeart/2005/8/layout/vList6"/>
    <dgm:cxn modelId="{C8FF3682-E08A-417E-9949-04B9492AD8C7}" type="presParOf" srcId="{B1270D65-8388-4C04-B257-4A5054B85E9E}" destId="{5EFDDC35-E431-4A83-8F2E-375C0CE20219}" srcOrd="0" destOrd="0" presId="urn:microsoft.com/office/officeart/2005/8/layout/vList6"/>
    <dgm:cxn modelId="{7C37B14C-CED8-435E-BCF0-4737547F7D04}" type="presParOf" srcId="{B1270D65-8388-4C04-B257-4A5054B85E9E}" destId="{F4A0939D-9A33-442F-A4A6-685470FD1F07}" srcOrd="1" destOrd="0" presId="urn:microsoft.com/office/officeart/2005/8/layout/vList6"/>
    <dgm:cxn modelId="{4256DE6E-D2E1-4125-A07B-D385D9E58192}" type="presParOf" srcId="{30F8DC95-7FAB-4CE0-8B91-2FB55FBB7551}" destId="{2EA06EF0-A145-4DA9-9A65-1A8C53799CA1}" srcOrd="1" destOrd="0" presId="urn:microsoft.com/office/officeart/2005/8/layout/vList6"/>
    <dgm:cxn modelId="{8E4885DA-906D-4487-B4A8-88F5B0B7BD40}" type="presParOf" srcId="{30F8DC95-7FAB-4CE0-8B91-2FB55FBB7551}" destId="{0F9AAB71-2632-4740-BE53-82857C85ECC0}" srcOrd="2" destOrd="0" presId="urn:microsoft.com/office/officeart/2005/8/layout/vList6"/>
    <dgm:cxn modelId="{938AF322-AA28-449A-B1B3-80FFEAFFF285}" type="presParOf" srcId="{0F9AAB71-2632-4740-BE53-82857C85ECC0}" destId="{494A905B-51B7-4944-9F3D-29C7C303FBDC}" srcOrd="0" destOrd="0" presId="urn:microsoft.com/office/officeart/2005/8/layout/vList6"/>
    <dgm:cxn modelId="{3BBB50A7-8FDE-4F5A-AE2A-77E978FDF34F}" type="presParOf" srcId="{0F9AAB71-2632-4740-BE53-82857C85ECC0}" destId="{840D4F23-41FD-4CF5-816E-B09FD4C38733}" srcOrd="1" destOrd="0" presId="urn:microsoft.com/office/officeart/2005/8/layout/vList6"/>
    <dgm:cxn modelId="{172D50C8-A3F2-4FA4-92F0-BD59C541AF09}" type="presParOf" srcId="{30F8DC95-7FAB-4CE0-8B91-2FB55FBB7551}" destId="{5C18616B-C0A2-4E84-999F-D589B39CB06B}" srcOrd="3" destOrd="0" presId="urn:microsoft.com/office/officeart/2005/8/layout/vList6"/>
    <dgm:cxn modelId="{26945B01-540C-4643-BD94-64F08A9D29A4}" type="presParOf" srcId="{30F8DC95-7FAB-4CE0-8B91-2FB55FBB7551}" destId="{AEAF9AEE-F62B-43DE-800A-D4C5473B28BE}" srcOrd="4" destOrd="0" presId="urn:microsoft.com/office/officeart/2005/8/layout/vList6"/>
    <dgm:cxn modelId="{2C4EB8FB-A0B7-4443-98D1-4CF49922766F}" type="presParOf" srcId="{AEAF9AEE-F62B-43DE-800A-D4C5473B28BE}" destId="{8996B770-E6EB-4AB0-8164-AFAD586BAFBD}" srcOrd="0" destOrd="0" presId="urn:microsoft.com/office/officeart/2005/8/layout/vList6"/>
    <dgm:cxn modelId="{106E6CCE-E961-4ACF-BB33-9A97277ADC78}" type="presParOf" srcId="{AEAF9AEE-F62B-43DE-800A-D4C5473B28BE}" destId="{C997485D-FCC1-4219-866A-B798D13BA0ED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8AFB0C-43D1-EC4A-8054-651C134F31A1}">
      <dsp:nvSpPr>
        <dsp:cNvPr id="0" name=""/>
        <dsp:cNvSpPr/>
      </dsp:nvSpPr>
      <dsp:spPr>
        <a:xfrm>
          <a:off x="2226780" y="429446"/>
          <a:ext cx="4848918" cy="1432091"/>
        </a:xfrm>
        <a:prstGeom prst="roundRect">
          <a:avLst/>
        </a:prstGeom>
        <a:solidFill>
          <a:schemeClr val="bg1">
            <a:alpha val="9000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360000" lvl="1" indent="-228600" algn="l" defTabSz="889000">
            <a:lnSpc>
              <a:spcPts val="3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2000" b="1" kern="1200" noProof="0" dirty="0" smtClean="0">
              <a:solidFill>
                <a:schemeClr val="tx1"/>
              </a:solidFill>
              <a:latin typeface="Arial"/>
              <a:cs typeface="Arial"/>
            </a:rPr>
            <a:t>Fundos de Capital de Risco</a:t>
          </a:r>
          <a:endParaRPr lang="pt-PT" sz="2000" b="1" kern="1200" noProof="0" dirty="0">
            <a:solidFill>
              <a:schemeClr val="tx1"/>
            </a:solidFill>
            <a:latin typeface="Arial"/>
            <a:cs typeface="Arial"/>
          </a:endParaRPr>
        </a:p>
        <a:p>
          <a:pPr marL="360000" lvl="1" indent="-228600" algn="l" defTabSz="889000">
            <a:lnSpc>
              <a:spcPts val="3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2000" b="1" kern="1200" noProof="0" dirty="0" smtClean="0">
              <a:solidFill>
                <a:schemeClr val="tx1"/>
              </a:solidFill>
              <a:latin typeface="Arial"/>
              <a:cs typeface="Arial"/>
            </a:rPr>
            <a:t>Programa de apoio a </a:t>
          </a:r>
          <a:r>
            <a:rPr lang="pt-PT" sz="2000" b="1" i="1" kern="1200" noProof="0" dirty="0" smtClean="0">
              <a:solidFill>
                <a:schemeClr val="tx1"/>
              </a:solidFill>
              <a:latin typeface="Arial"/>
              <a:cs typeface="Arial"/>
            </a:rPr>
            <a:t>Business Angels</a:t>
          </a:r>
          <a:endParaRPr lang="pt-PT" sz="2000" b="1" i="1" kern="1200" noProof="0" dirty="0">
            <a:solidFill>
              <a:schemeClr val="tx1"/>
            </a:solidFill>
            <a:latin typeface="Arial"/>
            <a:cs typeface="Arial"/>
          </a:endParaRPr>
        </a:p>
      </dsp:txBody>
      <dsp:txXfrm>
        <a:off x="2296689" y="499355"/>
        <a:ext cx="4709100" cy="1292273"/>
      </dsp:txXfrm>
    </dsp:sp>
    <dsp:sp modelId="{A898D999-A8A0-4A44-87FB-4479EAD2AEE9}">
      <dsp:nvSpPr>
        <dsp:cNvPr id="0" name=""/>
        <dsp:cNvSpPr/>
      </dsp:nvSpPr>
      <dsp:spPr>
        <a:xfrm>
          <a:off x="106865" y="295157"/>
          <a:ext cx="1989157" cy="1700670"/>
        </a:xfrm>
        <a:prstGeom prst="roundRect">
          <a:avLst/>
        </a:prstGeom>
        <a:solidFill>
          <a:srgbClr val="00B05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b="1" kern="1200" noProof="0" dirty="0" smtClean="0">
              <a:latin typeface="Arial"/>
              <a:cs typeface="Arial"/>
            </a:rPr>
            <a:t>Instrumentos de Engenharia Financeira</a:t>
          </a:r>
          <a:endParaRPr lang="pt-PT" sz="2000" b="1" kern="1200" noProof="0" dirty="0">
            <a:latin typeface="Arial"/>
            <a:cs typeface="Arial"/>
          </a:endParaRPr>
        </a:p>
      </dsp:txBody>
      <dsp:txXfrm>
        <a:off x="189885" y="378177"/>
        <a:ext cx="1823117" cy="1534630"/>
      </dsp:txXfrm>
    </dsp:sp>
    <dsp:sp modelId="{678ECAC8-0087-D14B-8C01-830FE6B711E3}">
      <dsp:nvSpPr>
        <dsp:cNvPr id="0" name=""/>
        <dsp:cNvSpPr/>
      </dsp:nvSpPr>
      <dsp:spPr>
        <a:xfrm>
          <a:off x="2226766" y="2380315"/>
          <a:ext cx="4840132" cy="1542512"/>
        </a:xfrm>
        <a:prstGeom prst="roundRect">
          <a:avLst/>
        </a:prstGeom>
        <a:solidFill>
          <a:schemeClr val="bg1">
            <a:alpha val="9000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352800" lvl="1" indent="-228600" algn="l" defTabSz="8890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2000" b="1" kern="1200" noProof="0" dirty="0" smtClean="0">
              <a:latin typeface="Arial"/>
              <a:cs typeface="Arial"/>
            </a:rPr>
            <a:t>Vale Empreendedorismo</a:t>
          </a:r>
          <a:endParaRPr lang="pt-PT" sz="2000" b="1" kern="1200" noProof="0" dirty="0">
            <a:latin typeface="Arial"/>
            <a:cs typeface="Arial"/>
          </a:endParaRPr>
        </a:p>
      </dsp:txBody>
      <dsp:txXfrm>
        <a:off x="2302065" y="2455614"/>
        <a:ext cx="4689534" cy="1391914"/>
      </dsp:txXfrm>
    </dsp:sp>
    <dsp:sp modelId="{6AAC80AE-A69B-1F43-8746-F71D4120E1AA}">
      <dsp:nvSpPr>
        <dsp:cNvPr id="0" name=""/>
        <dsp:cNvSpPr/>
      </dsp:nvSpPr>
      <dsp:spPr>
        <a:xfrm>
          <a:off x="134304" y="2294845"/>
          <a:ext cx="1965500" cy="1702973"/>
        </a:xfrm>
        <a:prstGeom prst="roundRect">
          <a:avLst/>
        </a:prstGeom>
        <a:solidFill>
          <a:srgbClr val="00B05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b="1" kern="1200" noProof="0" dirty="0" smtClean="0">
              <a:latin typeface="Arial"/>
              <a:cs typeface="Arial"/>
            </a:rPr>
            <a:t>Incentivos Financeiros</a:t>
          </a:r>
          <a:endParaRPr lang="pt-PT" sz="2000" b="1" kern="1200" noProof="0" dirty="0">
            <a:latin typeface="Arial"/>
            <a:cs typeface="Arial"/>
          </a:endParaRPr>
        </a:p>
      </dsp:txBody>
      <dsp:txXfrm>
        <a:off x="217436" y="2377977"/>
        <a:ext cx="1799236" cy="1536709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71C366-20A4-44EE-8962-F20FA5412BF2}">
      <dsp:nvSpPr>
        <dsp:cNvPr id="0" name=""/>
        <dsp:cNvSpPr/>
      </dsp:nvSpPr>
      <dsp:spPr>
        <a:xfrm>
          <a:off x="0" y="2201806"/>
          <a:ext cx="7696199" cy="1444623"/>
        </a:xfrm>
        <a:prstGeom prst="rect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b="1" kern="1200" dirty="0" smtClean="0">
              <a:latin typeface="Arial" pitchFamily="34" charset="0"/>
              <a:cs typeface="Arial" pitchFamily="34" charset="0"/>
            </a:rPr>
            <a:t>AAC n.º 13/SI/2012 –  EMPREENDEDORISMO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0" y="2201806"/>
        <a:ext cx="7696199" cy="780096"/>
      </dsp:txXfrm>
    </dsp:sp>
    <dsp:sp modelId="{BB4D5A74-D993-4B31-A758-E15AAE07CE05}">
      <dsp:nvSpPr>
        <dsp:cNvPr id="0" name=""/>
        <dsp:cNvSpPr/>
      </dsp:nvSpPr>
      <dsp:spPr>
        <a:xfrm>
          <a:off x="0" y="2953010"/>
          <a:ext cx="3848099" cy="664526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Candidaturas abertas em continuo até 5 de setembro 2013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0" y="2953010"/>
        <a:ext cx="3848099" cy="664526"/>
      </dsp:txXfrm>
    </dsp:sp>
    <dsp:sp modelId="{5CA96736-1350-4E6F-9975-14A711177624}">
      <dsp:nvSpPr>
        <dsp:cNvPr id="0" name=""/>
        <dsp:cNvSpPr/>
      </dsp:nvSpPr>
      <dsp:spPr>
        <a:xfrm>
          <a:off x="3848099" y="2953010"/>
          <a:ext cx="3848099" cy="664526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-13333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Dotação 5 M€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3848099" y="2953010"/>
        <a:ext cx="3848099" cy="664526"/>
      </dsp:txXfrm>
    </dsp:sp>
    <dsp:sp modelId="{4AAF87A0-6923-4BDA-82DE-F8104BFF4876}">
      <dsp:nvSpPr>
        <dsp:cNvPr id="0" name=""/>
        <dsp:cNvSpPr/>
      </dsp:nvSpPr>
      <dsp:spPr>
        <a:xfrm rot="10800000">
          <a:off x="0" y="1645"/>
          <a:ext cx="7696199" cy="2221830"/>
        </a:xfrm>
        <a:prstGeom prst="upArrowCallout">
          <a:avLst/>
        </a:prstGeom>
        <a:solidFill>
          <a:schemeClr val="accent2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b="1" kern="1200" dirty="0" smtClean="0">
              <a:latin typeface="Arial" pitchFamily="34" charset="0"/>
              <a:cs typeface="Arial" pitchFamily="34" charset="0"/>
            </a:rPr>
            <a:t>AAC n.º 12/SI/2012 – INOVAÇÃO PRODUTIVA</a:t>
          </a:r>
          <a:endParaRPr lang="pt-PT" sz="2000" b="1" kern="1200" dirty="0">
            <a:solidFill>
              <a:schemeClr val="bg1"/>
            </a:solidFill>
            <a:latin typeface="Arial" pitchFamily="34" charset="0"/>
            <a:ea typeface="Geneva" charset="0"/>
            <a:cs typeface="Arial" pitchFamily="34" charset="0"/>
          </a:endParaRPr>
        </a:p>
      </dsp:txBody>
      <dsp:txXfrm rot="-10800000">
        <a:off x="0" y="1645"/>
        <a:ext cx="7696199" cy="779862"/>
      </dsp:txXfrm>
    </dsp:sp>
    <dsp:sp modelId="{3A4F8883-93A3-4F11-85AF-0F023E6925F0}">
      <dsp:nvSpPr>
        <dsp:cNvPr id="0" name=""/>
        <dsp:cNvSpPr/>
      </dsp:nvSpPr>
      <dsp:spPr>
        <a:xfrm>
          <a:off x="0" y="781507"/>
          <a:ext cx="3848099" cy="66432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-26667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Candidaturas abertas em continuo até 5 de setembro 2013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0" y="781507"/>
        <a:ext cx="3848099" cy="664327"/>
      </dsp:txXfrm>
    </dsp:sp>
    <dsp:sp modelId="{5E8814F0-C10A-4CEF-B3DA-F42359A608C7}">
      <dsp:nvSpPr>
        <dsp:cNvPr id="0" name=""/>
        <dsp:cNvSpPr/>
      </dsp:nvSpPr>
      <dsp:spPr>
        <a:xfrm>
          <a:off x="3848099" y="781507"/>
          <a:ext cx="3848099" cy="66432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Dotação 145 M€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3848099" y="781507"/>
        <a:ext cx="3848099" cy="66432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EF2368-90DD-4335-9337-5A8FA448E961}">
      <dsp:nvSpPr>
        <dsp:cNvPr id="0" name=""/>
        <dsp:cNvSpPr/>
      </dsp:nvSpPr>
      <dsp:spPr>
        <a:xfrm rot="10800000">
          <a:off x="1412371" y="1129"/>
          <a:ext cx="5219319" cy="390925"/>
        </a:xfrm>
        <a:prstGeom prst="homePlate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2387" tIns="68580" rIns="128016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Internacionalização</a:t>
          </a:r>
          <a:endParaRPr lang="pt-PT" sz="1800" kern="1200" dirty="0">
            <a:latin typeface="Arial" pitchFamily="34" charset="0"/>
            <a:cs typeface="Arial" pitchFamily="34" charset="0"/>
          </a:endParaRPr>
        </a:p>
      </dsp:txBody>
      <dsp:txXfrm rot="10800000">
        <a:off x="1510102" y="1129"/>
        <a:ext cx="5121588" cy="390925"/>
      </dsp:txXfrm>
    </dsp:sp>
    <dsp:sp modelId="{B1DB9E8F-71BB-43D7-BD71-3A62B9D30DFA}">
      <dsp:nvSpPr>
        <dsp:cNvPr id="0" name=""/>
        <dsp:cNvSpPr/>
      </dsp:nvSpPr>
      <dsp:spPr>
        <a:xfrm>
          <a:off x="1216909" y="1129"/>
          <a:ext cx="390925" cy="390925"/>
        </a:xfrm>
        <a:prstGeom prst="ellipse">
          <a:avLst/>
        </a:prstGeom>
        <a:blipFill>
          <a:blip xmlns:r="http://schemas.openxmlformats.org/officeDocument/2006/relationships" r:embed="rId1">
            <a:duotone>
              <a:schemeClr val="accent2">
                <a:alpha val="90000"/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accent2">
                <a:alpha val="90000"/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  <a:extLst/>
          </a:blip>
          <a:srcRect/>
          <a:stretch>
            <a:fillRect l="-17000" r="-1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46AB28-4F99-43A9-8268-EF711E647482}">
      <dsp:nvSpPr>
        <dsp:cNvPr id="0" name=""/>
        <dsp:cNvSpPr/>
      </dsp:nvSpPr>
      <dsp:spPr>
        <a:xfrm rot="10800000">
          <a:off x="1412371" y="508749"/>
          <a:ext cx="5219319" cy="390925"/>
        </a:xfrm>
        <a:prstGeom prst="homePlate">
          <a:avLst/>
        </a:prstGeom>
        <a:solidFill>
          <a:schemeClr val="accent2">
            <a:alpha val="90000"/>
            <a:hueOff val="0"/>
            <a:satOff val="0"/>
            <a:lumOff val="0"/>
            <a:alphaOff val="-5714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2387" tIns="68580" rIns="128016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Qualidade</a:t>
          </a:r>
          <a:endParaRPr lang="pt-PT" sz="1800" kern="1200" dirty="0">
            <a:latin typeface="Arial" pitchFamily="34" charset="0"/>
            <a:cs typeface="Arial" pitchFamily="34" charset="0"/>
          </a:endParaRPr>
        </a:p>
      </dsp:txBody>
      <dsp:txXfrm rot="10800000">
        <a:off x="1510102" y="508749"/>
        <a:ext cx="5121588" cy="390925"/>
      </dsp:txXfrm>
    </dsp:sp>
    <dsp:sp modelId="{8D0DD409-29D4-4191-B515-1AC588C8ED8B}">
      <dsp:nvSpPr>
        <dsp:cNvPr id="0" name=""/>
        <dsp:cNvSpPr/>
      </dsp:nvSpPr>
      <dsp:spPr>
        <a:xfrm>
          <a:off x="1216909" y="508749"/>
          <a:ext cx="390925" cy="390925"/>
        </a:xfrm>
        <a:prstGeom prst="ellipse">
          <a:avLst/>
        </a:prstGeom>
        <a:blipFill>
          <a:blip xmlns:r="http://schemas.openxmlformats.org/officeDocument/2006/relationships" r:embed="rId2">
            <a:duotone>
              <a:schemeClr val="accent2">
                <a:alpha val="90000"/>
                <a:hueOff val="-544"/>
                <a:satOff val="-390"/>
                <a:lumOff val="1599"/>
                <a:alphaOff val="-5714"/>
                <a:shade val="20000"/>
                <a:satMod val="200000"/>
              </a:schemeClr>
              <a:schemeClr val="accent2">
                <a:alpha val="90000"/>
                <a:hueOff val="-544"/>
                <a:satOff val="-390"/>
                <a:lumOff val="1599"/>
                <a:alphaOff val="-5714"/>
                <a:tint val="12000"/>
                <a:satMod val="190000"/>
              </a:schemeClr>
            </a:duotone>
            <a:extLst/>
          </a:blip>
          <a:srcRect/>
          <a:stretch>
            <a:fillRect t="-3000" b="-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524A4D9-A9E5-48D9-AB0F-F97ED9BE725A}">
      <dsp:nvSpPr>
        <dsp:cNvPr id="0" name=""/>
        <dsp:cNvSpPr/>
      </dsp:nvSpPr>
      <dsp:spPr>
        <a:xfrm rot="10800000">
          <a:off x="1412371" y="1016369"/>
          <a:ext cx="5219319" cy="390925"/>
        </a:xfrm>
        <a:prstGeom prst="homePlate">
          <a:avLst/>
        </a:prstGeom>
        <a:solidFill>
          <a:schemeClr val="accent2">
            <a:alpha val="90000"/>
            <a:hueOff val="0"/>
            <a:satOff val="0"/>
            <a:lumOff val="0"/>
            <a:alphaOff val="-11429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2387" tIns="68580" rIns="128016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Eficiência energética e ambiental</a:t>
          </a:r>
          <a:endParaRPr lang="pt-PT" sz="1800" kern="1200" dirty="0">
            <a:latin typeface="Arial" pitchFamily="34" charset="0"/>
            <a:cs typeface="Arial" pitchFamily="34" charset="0"/>
          </a:endParaRPr>
        </a:p>
      </dsp:txBody>
      <dsp:txXfrm rot="10800000">
        <a:off x="1510102" y="1016369"/>
        <a:ext cx="5121588" cy="390925"/>
      </dsp:txXfrm>
    </dsp:sp>
    <dsp:sp modelId="{67951A5A-7447-4986-9761-FEE1F5173833}">
      <dsp:nvSpPr>
        <dsp:cNvPr id="0" name=""/>
        <dsp:cNvSpPr/>
      </dsp:nvSpPr>
      <dsp:spPr>
        <a:xfrm>
          <a:off x="1216909" y="1016369"/>
          <a:ext cx="390925" cy="390925"/>
        </a:xfrm>
        <a:prstGeom prst="ellipse">
          <a:avLst/>
        </a:prstGeom>
        <a:blipFill>
          <a:blip xmlns:r="http://schemas.openxmlformats.org/officeDocument/2006/relationships" r:embed="rId3">
            <a:duotone>
              <a:schemeClr val="accent2">
                <a:alpha val="90000"/>
                <a:hueOff val="-1088"/>
                <a:satOff val="-780"/>
                <a:lumOff val="3197"/>
                <a:alphaOff val="-11429"/>
                <a:shade val="20000"/>
                <a:satMod val="200000"/>
              </a:schemeClr>
              <a:schemeClr val="accent2">
                <a:alpha val="90000"/>
                <a:hueOff val="-1088"/>
                <a:satOff val="-780"/>
                <a:lumOff val="3197"/>
                <a:alphaOff val="-11429"/>
                <a:tint val="12000"/>
                <a:satMod val="190000"/>
              </a:schemeClr>
            </a:duotone>
            <a:extLst/>
          </a:blip>
          <a:srcRect/>
          <a:stretch>
            <a:fillRect l="-14000" r="-14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8EB6C1-C025-4A2A-B06D-28FDE90481C7}">
      <dsp:nvSpPr>
        <dsp:cNvPr id="0" name=""/>
        <dsp:cNvSpPr/>
      </dsp:nvSpPr>
      <dsp:spPr>
        <a:xfrm rot="10800000">
          <a:off x="1412371" y="1523989"/>
          <a:ext cx="5219319" cy="390925"/>
        </a:xfrm>
        <a:prstGeom prst="homePlate">
          <a:avLst/>
        </a:prstGeom>
        <a:solidFill>
          <a:schemeClr val="accent2">
            <a:alpha val="90000"/>
            <a:hueOff val="0"/>
            <a:satOff val="0"/>
            <a:lumOff val="0"/>
            <a:alphaOff val="-17143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2387" tIns="68580" rIns="128016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Inovação</a:t>
          </a:r>
          <a:endParaRPr lang="pt-PT" sz="1800" kern="1200" dirty="0">
            <a:latin typeface="Arial" pitchFamily="34" charset="0"/>
            <a:cs typeface="Arial" pitchFamily="34" charset="0"/>
          </a:endParaRPr>
        </a:p>
      </dsp:txBody>
      <dsp:txXfrm rot="10800000">
        <a:off x="1510102" y="1523989"/>
        <a:ext cx="5121588" cy="390925"/>
      </dsp:txXfrm>
    </dsp:sp>
    <dsp:sp modelId="{A1C19BA3-3AE5-40FB-B41C-04179BAA683D}">
      <dsp:nvSpPr>
        <dsp:cNvPr id="0" name=""/>
        <dsp:cNvSpPr/>
      </dsp:nvSpPr>
      <dsp:spPr>
        <a:xfrm>
          <a:off x="1216909" y="1523989"/>
          <a:ext cx="390925" cy="390925"/>
        </a:xfrm>
        <a:prstGeom prst="ellipse">
          <a:avLst/>
        </a:prstGeom>
        <a:blipFill>
          <a:blip xmlns:r="http://schemas.openxmlformats.org/officeDocument/2006/relationships" r:embed="rId4">
            <a:duotone>
              <a:schemeClr val="accent2">
                <a:alpha val="90000"/>
                <a:hueOff val="-1632"/>
                <a:satOff val="-1170"/>
                <a:lumOff val="4796"/>
                <a:alphaOff val="-17143"/>
                <a:shade val="20000"/>
                <a:satMod val="200000"/>
              </a:schemeClr>
              <a:schemeClr val="accent2">
                <a:alpha val="90000"/>
                <a:hueOff val="-1632"/>
                <a:satOff val="-1170"/>
                <a:lumOff val="4796"/>
                <a:alphaOff val="-17143"/>
                <a:tint val="12000"/>
                <a:satMod val="190000"/>
              </a:schemeClr>
            </a:duotone>
            <a:extLst/>
          </a:blip>
          <a:srcRect/>
          <a:stretch>
            <a:fillRect l="-17000" r="-1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850F637-282E-4E5D-845E-EA72AF07ADE8}">
      <dsp:nvSpPr>
        <dsp:cNvPr id="0" name=""/>
        <dsp:cNvSpPr/>
      </dsp:nvSpPr>
      <dsp:spPr>
        <a:xfrm rot="10800000">
          <a:off x="1412371" y="2031609"/>
          <a:ext cx="5219319" cy="390925"/>
        </a:xfrm>
        <a:prstGeom prst="homePlate">
          <a:avLst/>
        </a:prstGeom>
        <a:solidFill>
          <a:schemeClr val="accent2">
            <a:alpha val="90000"/>
            <a:hueOff val="0"/>
            <a:satOff val="0"/>
            <a:lumOff val="0"/>
            <a:alphaOff val="-22857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2387" tIns="68580" rIns="128016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Economia digital</a:t>
          </a:r>
          <a:endParaRPr lang="pt-PT" sz="1800" kern="1200" dirty="0">
            <a:latin typeface="Arial" pitchFamily="34" charset="0"/>
            <a:cs typeface="Arial" pitchFamily="34" charset="0"/>
          </a:endParaRPr>
        </a:p>
      </dsp:txBody>
      <dsp:txXfrm rot="10800000">
        <a:off x="1510102" y="2031609"/>
        <a:ext cx="5121588" cy="390925"/>
      </dsp:txXfrm>
    </dsp:sp>
    <dsp:sp modelId="{CD970B49-87E3-4F3E-A388-FBE9B7870EA1}">
      <dsp:nvSpPr>
        <dsp:cNvPr id="0" name=""/>
        <dsp:cNvSpPr/>
      </dsp:nvSpPr>
      <dsp:spPr>
        <a:xfrm>
          <a:off x="1216909" y="2031609"/>
          <a:ext cx="390925" cy="390925"/>
        </a:xfrm>
        <a:prstGeom prst="ellipse">
          <a:avLst/>
        </a:prstGeom>
        <a:blipFill>
          <a:blip xmlns:r="http://schemas.openxmlformats.org/officeDocument/2006/relationships" r:embed="rId5">
            <a:duotone>
              <a:schemeClr val="accent2">
                <a:alpha val="90000"/>
                <a:hueOff val="-2177"/>
                <a:satOff val="-1559"/>
                <a:lumOff val="6395"/>
                <a:alphaOff val="-22857"/>
                <a:shade val="20000"/>
                <a:satMod val="200000"/>
              </a:schemeClr>
              <a:schemeClr val="accent2">
                <a:alpha val="90000"/>
                <a:hueOff val="-2177"/>
                <a:satOff val="-1559"/>
                <a:lumOff val="6395"/>
                <a:alphaOff val="-22857"/>
                <a:tint val="12000"/>
                <a:satMod val="190000"/>
              </a:schemeClr>
            </a:duotone>
            <a:extLst/>
          </a:blip>
          <a:srcRect/>
          <a:stretch>
            <a:fillRect l="-6000" r="-6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FE701A1-F018-4AED-A15E-2A2F2573D5E8}">
      <dsp:nvSpPr>
        <dsp:cNvPr id="0" name=""/>
        <dsp:cNvSpPr/>
      </dsp:nvSpPr>
      <dsp:spPr>
        <a:xfrm rot="10800000">
          <a:off x="1412371" y="2539229"/>
          <a:ext cx="5219319" cy="390925"/>
        </a:xfrm>
        <a:prstGeom prst="homePlate">
          <a:avLst/>
        </a:prstGeom>
        <a:solidFill>
          <a:schemeClr val="accent2">
            <a:alpha val="90000"/>
            <a:hueOff val="0"/>
            <a:satOff val="0"/>
            <a:lumOff val="0"/>
            <a:alphaOff val="-28571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2387" tIns="68580" rIns="128016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Propriedade industrial</a:t>
          </a:r>
          <a:endParaRPr lang="pt-PT" sz="1800" kern="1200" dirty="0">
            <a:latin typeface="Arial" pitchFamily="34" charset="0"/>
            <a:cs typeface="Arial" pitchFamily="34" charset="0"/>
          </a:endParaRPr>
        </a:p>
      </dsp:txBody>
      <dsp:txXfrm rot="10800000">
        <a:off x="1510102" y="2539229"/>
        <a:ext cx="5121588" cy="390925"/>
      </dsp:txXfrm>
    </dsp:sp>
    <dsp:sp modelId="{256FF7C9-5072-4134-980E-FC34F0BF6150}">
      <dsp:nvSpPr>
        <dsp:cNvPr id="0" name=""/>
        <dsp:cNvSpPr/>
      </dsp:nvSpPr>
      <dsp:spPr>
        <a:xfrm>
          <a:off x="1216909" y="2539229"/>
          <a:ext cx="390925" cy="390925"/>
        </a:xfrm>
        <a:prstGeom prst="ellipse">
          <a:avLst/>
        </a:prstGeom>
        <a:blipFill>
          <a:blip xmlns:r="http://schemas.openxmlformats.org/officeDocument/2006/relationships" r:embed="rId6">
            <a:duotone>
              <a:schemeClr val="accent2">
                <a:alpha val="90000"/>
                <a:hueOff val="-2721"/>
                <a:satOff val="-1949"/>
                <a:lumOff val="7994"/>
                <a:alphaOff val="-28571"/>
                <a:shade val="20000"/>
                <a:satMod val="200000"/>
              </a:schemeClr>
              <a:schemeClr val="accent2">
                <a:alpha val="90000"/>
                <a:hueOff val="-2721"/>
                <a:satOff val="-1949"/>
                <a:lumOff val="7994"/>
                <a:alphaOff val="-28571"/>
                <a:tint val="12000"/>
                <a:satMod val="190000"/>
              </a:schemeClr>
            </a:duotone>
            <a:extLst/>
          </a:blip>
          <a:srcRect/>
          <a:stretch>
            <a:fillRect l="-21000" r="-2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F2C2AA-58F0-4B73-B810-99B0C5B532F3}">
      <dsp:nvSpPr>
        <dsp:cNvPr id="0" name=""/>
        <dsp:cNvSpPr/>
      </dsp:nvSpPr>
      <dsp:spPr>
        <a:xfrm rot="10800000">
          <a:off x="1412371" y="3046849"/>
          <a:ext cx="5219319" cy="390925"/>
        </a:xfrm>
        <a:prstGeom prst="homePlate">
          <a:avLst/>
        </a:prstGeom>
        <a:solidFill>
          <a:schemeClr val="accent2">
            <a:alpha val="90000"/>
            <a:hueOff val="0"/>
            <a:satOff val="0"/>
            <a:lumOff val="0"/>
            <a:alphaOff val="-34286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2387" tIns="68580" rIns="128016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Criação moda e design</a:t>
          </a:r>
          <a:endParaRPr lang="pt-PT" sz="1800" kern="1200" dirty="0">
            <a:latin typeface="Arial" pitchFamily="34" charset="0"/>
            <a:cs typeface="Arial" pitchFamily="34" charset="0"/>
          </a:endParaRPr>
        </a:p>
      </dsp:txBody>
      <dsp:txXfrm rot="10800000">
        <a:off x="1510102" y="3046849"/>
        <a:ext cx="5121588" cy="390925"/>
      </dsp:txXfrm>
    </dsp:sp>
    <dsp:sp modelId="{691E8B66-BC41-4B3E-AB9F-CE0D3D20A7F6}">
      <dsp:nvSpPr>
        <dsp:cNvPr id="0" name=""/>
        <dsp:cNvSpPr/>
      </dsp:nvSpPr>
      <dsp:spPr>
        <a:xfrm>
          <a:off x="1216909" y="3046849"/>
          <a:ext cx="390925" cy="390925"/>
        </a:xfrm>
        <a:prstGeom prst="ellipse">
          <a:avLst/>
        </a:prstGeom>
        <a:blipFill>
          <a:blip xmlns:r="http://schemas.openxmlformats.org/officeDocument/2006/relationships" r:embed="rId7">
            <a:duotone>
              <a:schemeClr val="accent2">
                <a:alpha val="90000"/>
                <a:hueOff val="-3265"/>
                <a:satOff val="-2339"/>
                <a:lumOff val="9592"/>
                <a:alphaOff val="-34286"/>
                <a:shade val="20000"/>
                <a:satMod val="200000"/>
              </a:schemeClr>
              <a:schemeClr val="accent2">
                <a:alpha val="90000"/>
                <a:hueOff val="-3265"/>
                <a:satOff val="-2339"/>
                <a:lumOff val="9592"/>
                <a:alphaOff val="-34286"/>
                <a:tint val="12000"/>
                <a:satMod val="190000"/>
              </a:schemeClr>
            </a:duotone>
            <a:extLst/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4DF666-BE92-4B8A-8D47-D5C42D9519F5}">
      <dsp:nvSpPr>
        <dsp:cNvPr id="0" name=""/>
        <dsp:cNvSpPr/>
      </dsp:nvSpPr>
      <dsp:spPr>
        <a:xfrm rot="10800000">
          <a:off x="1412371" y="3554469"/>
          <a:ext cx="5219319" cy="390925"/>
        </a:xfrm>
        <a:prstGeom prst="homePlate">
          <a:avLst/>
        </a:prstGeom>
        <a:solidFill>
          <a:schemeClr val="accent2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2387" tIns="68580" rIns="128016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Organização e gestão e TIC</a:t>
          </a:r>
          <a:endParaRPr lang="pt-PT" sz="1800" kern="1200" dirty="0">
            <a:latin typeface="Arial" pitchFamily="34" charset="0"/>
            <a:cs typeface="Arial" pitchFamily="34" charset="0"/>
          </a:endParaRPr>
        </a:p>
      </dsp:txBody>
      <dsp:txXfrm rot="10800000">
        <a:off x="1510102" y="3554469"/>
        <a:ext cx="5121588" cy="390925"/>
      </dsp:txXfrm>
    </dsp:sp>
    <dsp:sp modelId="{F98F6CDA-F2D1-4EB4-A306-2E996B6897BB}">
      <dsp:nvSpPr>
        <dsp:cNvPr id="0" name=""/>
        <dsp:cNvSpPr/>
      </dsp:nvSpPr>
      <dsp:spPr>
        <a:xfrm>
          <a:off x="1216909" y="3554469"/>
          <a:ext cx="390925" cy="390925"/>
        </a:xfrm>
        <a:prstGeom prst="ellipse">
          <a:avLst/>
        </a:prstGeom>
        <a:blipFill>
          <a:blip xmlns:r="http://schemas.openxmlformats.org/officeDocument/2006/relationships" r:embed="rId8">
            <a:duotone>
              <a:schemeClr val="accent2">
                <a:alpha val="90000"/>
                <a:hueOff val="-3809"/>
                <a:satOff val="-2729"/>
                <a:lumOff val="11191"/>
                <a:alphaOff val="-40000"/>
                <a:shade val="20000"/>
                <a:satMod val="200000"/>
              </a:schemeClr>
              <a:schemeClr val="accent2">
                <a:alpha val="90000"/>
                <a:hueOff val="-3809"/>
                <a:satOff val="-2729"/>
                <a:lumOff val="11191"/>
                <a:alphaOff val="-40000"/>
                <a:tint val="12000"/>
                <a:satMod val="190000"/>
              </a:schemeClr>
            </a:duotone>
            <a:extLst/>
          </a:blip>
          <a:srcRect/>
          <a:stretch>
            <a:fillRect l="-11000" r="-1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1A8223-8F17-42A4-BB99-8DF0D1A30B89}">
      <dsp:nvSpPr>
        <dsp:cNvPr id="0" name=""/>
        <dsp:cNvSpPr/>
      </dsp:nvSpPr>
      <dsp:spPr>
        <a:xfrm rot="16200000">
          <a:off x="-596390" y="597317"/>
          <a:ext cx="3604022" cy="2409387"/>
        </a:xfrm>
        <a:prstGeom prst="flowChartManualOperation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0" tIns="0" rIns="10160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1600" kern="1200" dirty="0" smtClean="0">
            <a:latin typeface="Arial" pitchFamily="34" charset="0"/>
            <a:cs typeface="Arial" pitchFamily="34" charset="0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kern="1200" dirty="0" smtClean="0">
              <a:latin typeface="Arial" pitchFamily="34" charset="0"/>
              <a:cs typeface="Arial" pitchFamily="34" charset="0"/>
            </a:rPr>
            <a:t>PROJETO INDIVIDUAL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1400" kern="1200" dirty="0" smtClean="0"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kern="1200" dirty="0" smtClean="0">
              <a:latin typeface="Arial" pitchFamily="34" charset="0"/>
              <a:cs typeface="Arial" pitchFamily="34" charset="0"/>
            </a:rPr>
            <a:t>Investimento apresentado p/ PME;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1400" kern="1200" dirty="0" smtClean="0"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kern="1200" dirty="0" smtClean="0">
              <a:latin typeface="Arial" pitchFamily="34" charset="0"/>
              <a:cs typeface="Arial" pitchFamily="34" charset="0"/>
            </a:rPr>
            <a:t>Taxa incentivo máxima de 50%, sendo 75% na internacionalização;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1400" kern="1200" dirty="0" smtClean="0"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kern="1200" dirty="0" smtClean="0">
              <a:latin typeface="Arial" pitchFamily="34" charset="0"/>
              <a:cs typeface="Arial" pitchFamily="34" charset="0"/>
            </a:rPr>
            <a:t>Incentivo não reembolsável.</a:t>
          </a:r>
          <a:endParaRPr lang="pt-PT" sz="1400" kern="1200" dirty="0">
            <a:latin typeface="Arial" pitchFamily="34" charset="0"/>
            <a:cs typeface="Arial" pitchFamily="34" charset="0"/>
          </a:endParaRPr>
        </a:p>
      </dsp:txBody>
      <dsp:txXfrm rot="5400000">
        <a:off x="928" y="720803"/>
        <a:ext cx="2409387" cy="2162414"/>
      </dsp:txXfrm>
    </dsp:sp>
    <dsp:sp modelId="{89BEC2E7-894A-4E52-8A9A-7821274926E7}">
      <dsp:nvSpPr>
        <dsp:cNvPr id="0" name=""/>
        <dsp:cNvSpPr/>
      </dsp:nvSpPr>
      <dsp:spPr>
        <a:xfrm rot="16200000">
          <a:off x="1993701" y="597317"/>
          <a:ext cx="3604022" cy="2409387"/>
        </a:xfrm>
        <a:prstGeom prst="flowChartManualOperation">
          <a:avLst/>
        </a:prstGeom>
        <a:solidFill>
          <a:schemeClr val="accent2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0" rIns="11430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1800" kern="1200" dirty="0" smtClean="0">
            <a:latin typeface="Arial" pitchFamily="34" charset="0"/>
            <a:cs typeface="Arial" pitchFamily="34" charset="0"/>
          </a:endParaRP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kern="1200" dirty="0" smtClean="0">
              <a:latin typeface="Arial" pitchFamily="34" charset="0"/>
              <a:cs typeface="Arial" pitchFamily="34" charset="0"/>
            </a:rPr>
            <a:t>PROJETO CONJUNTO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1400" kern="1200" dirty="0" smtClean="0">
            <a:latin typeface="Arial" pitchFamily="34" charset="0"/>
            <a:cs typeface="Arial" pitchFamily="34" charset="0"/>
          </a:endParaRP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kern="1200" dirty="0" smtClean="0">
              <a:latin typeface="Arial" pitchFamily="34" charset="0"/>
              <a:cs typeface="Arial" pitchFamily="34" charset="0"/>
            </a:rPr>
            <a:t>Programa estruturado de intervenção num conjunto de empresas;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1400" kern="1200" dirty="0" smtClean="0">
            <a:latin typeface="Arial" pitchFamily="34" charset="0"/>
            <a:cs typeface="Arial" pitchFamily="34" charset="0"/>
          </a:endParaRP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kern="1200" dirty="0" smtClean="0">
              <a:latin typeface="Arial" pitchFamily="34" charset="0"/>
              <a:cs typeface="Arial" pitchFamily="34" charset="0"/>
            </a:rPr>
            <a:t>Taxa incentivo máxima de 50%, sendo 75% na internacionalização;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1400" kern="1200" dirty="0" smtClean="0">
            <a:latin typeface="Arial" pitchFamily="34" charset="0"/>
            <a:cs typeface="Arial" pitchFamily="34" charset="0"/>
          </a:endParaRP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kern="1200" dirty="0" smtClean="0">
              <a:latin typeface="Arial" pitchFamily="34" charset="0"/>
              <a:cs typeface="Arial" pitchFamily="34" charset="0"/>
            </a:rPr>
            <a:t>Incentivo não reembolsável.</a:t>
          </a:r>
          <a:endParaRPr lang="pt-PT" sz="1400" kern="1200" dirty="0">
            <a:latin typeface="Arial" pitchFamily="34" charset="0"/>
            <a:cs typeface="Arial" pitchFamily="34" charset="0"/>
          </a:endParaRPr>
        </a:p>
      </dsp:txBody>
      <dsp:txXfrm rot="5400000">
        <a:off x="2591019" y="720803"/>
        <a:ext cx="2409387" cy="2162414"/>
      </dsp:txXfrm>
    </dsp:sp>
    <dsp:sp modelId="{E30AFF00-2441-4A9F-9FBD-4B07E7B53CDB}">
      <dsp:nvSpPr>
        <dsp:cNvPr id="0" name=""/>
        <dsp:cNvSpPr/>
      </dsp:nvSpPr>
      <dsp:spPr>
        <a:xfrm rot="16200000">
          <a:off x="4583792" y="597317"/>
          <a:ext cx="3604022" cy="2409387"/>
        </a:xfrm>
        <a:prstGeom prst="flowChartManualOperation">
          <a:avLst/>
        </a:prstGeom>
        <a:solidFill>
          <a:schemeClr val="accent2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0" rIns="11430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1800" kern="1200" dirty="0" smtClean="0">
            <a:latin typeface="Arial" pitchFamily="34" charset="0"/>
            <a:cs typeface="Arial" pitchFamily="34" charset="0"/>
          </a:endParaRP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kern="1200" dirty="0" smtClean="0">
              <a:latin typeface="Arial" pitchFamily="34" charset="0"/>
              <a:cs typeface="Arial" pitchFamily="34" charset="0"/>
            </a:rPr>
            <a:t>PROJETO SIMPLIFICADO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kern="1200" dirty="0" smtClean="0">
              <a:latin typeface="Arial" pitchFamily="34" charset="0"/>
              <a:cs typeface="Arial" pitchFamily="34" charset="0"/>
            </a:rPr>
            <a:t>“VALE”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1200" kern="1200" dirty="0" smtClean="0">
            <a:latin typeface="Arial" pitchFamily="34" charset="0"/>
            <a:cs typeface="Arial" pitchFamily="34" charset="0"/>
          </a:endParaRP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kern="1200" dirty="0" smtClean="0">
              <a:latin typeface="Arial" pitchFamily="34" charset="0"/>
              <a:cs typeface="Arial" pitchFamily="34" charset="0"/>
            </a:rPr>
            <a:t>Apresentado p/ PME para aquisição de serviços 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1200" kern="1200" dirty="0" smtClean="0">
            <a:latin typeface="Arial" pitchFamily="34" charset="0"/>
            <a:cs typeface="Arial" pitchFamily="34" charset="0"/>
          </a:endParaRP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kern="1200" dirty="0" smtClean="0">
              <a:latin typeface="Arial" pitchFamily="34" charset="0"/>
              <a:cs typeface="Arial" pitchFamily="34" charset="0"/>
            </a:rPr>
            <a:t>Taxa incentivo máxima 75%;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1400" kern="1200" dirty="0" smtClean="0">
            <a:latin typeface="Arial" pitchFamily="34" charset="0"/>
            <a:cs typeface="Arial" pitchFamily="34" charset="0"/>
          </a:endParaRP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kern="1200" dirty="0" smtClean="0">
              <a:latin typeface="Arial" pitchFamily="34" charset="0"/>
              <a:cs typeface="Arial" pitchFamily="34" charset="0"/>
            </a:rPr>
            <a:t>Incentivo não reembolsável.</a:t>
          </a:r>
          <a:endParaRPr lang="pt-PT" sz="1400" kern="1200" dirty="0">
            <a:latin typeface="Arial" pitchFamily="34" charset="0"/>
            <a:cs typeface="Arial" pitchFamily="34" charset="0"/>
          </a:endParaRPr>
        </a:p>
      </dsp:txBody>
      <dsp:txXfrm rot="5400000">
        <a:off x="5181110" y="720803"/>
        <a:ext cx="2409387" cy="2162414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2BE298-2A0A-41F9-A186-21E62997848D}">
      <dsp:nvSpPr>
        <dsp:cNvPr id="0" name=""/>
        <dsp:cNvSpPr/>
      </dsp:nvSpPr>
      <dsp:spPr>
        <a:xfrm>
          <a:off x="951717" y="1973262"/>
          <a:ext cx="490934" cy="14032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45467" y="0"/>
              </a:lnTo>
              <a:lnTo>
                <a:pt x="245467" y="1403204"/>
              </a:lnTo>
              <a:lnTo>
                <a:pt x="490934" y="1403204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500" kern="1200"/>
        </a:p>
      </dsp:txBody>
      <dsp:txXfrm>
        <a:off x="1160020" y="2637699"/>
        <a:ext cx="74330" cy="74330"/>
      </dsp:txXfrm>
    </dsp:sp>
    <dsp:sp modelId="{42A5FF64-0624-4F2A-B3CA-05B9C6BA72FC}">
      <dsp:nvSpPr>
        <dsp:cNvPr id="0" name=""/>
        <dsp:cNvSpPr/>
      </dsp:nvSpPr>
      <dsp:spPr>
        <a:xfrm>
          <a:off x="951717" y="1973262"/>
          <a:ext cx="490934" cy="4677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45467" y="0"/>
              </a:lnTo>
              <a:lnTo>
                <a:pt x="245467" y="467734"/>
              </a:lnTo>
              <a:lnTo>
                <a:pt x="490934" y="467734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500" kern="1200"/>
        </a:p>
      </dsp:txBody>
      <dsp:txXfrm>
        <a:off x="1180233" y="2190177"/>
        <a:ext cx="33904" cy="33904"/>
      </dsp:txXfrm>
    </dsp:sp>
    <dsp:sp modelId="{D6C059D2-C904-4861-9416-7818032D44BD}">
      <dsp:nvSpPr>
        <dsp:cNvPr id="0" name=""/>
        <dsp:cNvSpPr/>
      </dsp:nvSpPr>
      <dsp:spPr>
        <a:xfrm>
          <a:off x="951717" y="1505527"/>
          <a:ext cx="490934" cy="467734"/>
        </a:xfrm>
        <a:custGeom>
          <a:avLst/>
          <a:gdLst/>
          <a:ahLst/>
          <a:cxnLst/>
          <a:rect l="0" t="0" r="0" b="0"/>
          <a:pathLst>
            <a:path>
              <a:moveTo>
                <a:pt x="0" y="467734"/>
              </a:moveTo>
              <a:lnTo>
                <a:pt x="245467" y="467734"/>
              </a:lnTo>
              <a:lnTo>
                <a:pt x="245467" y="0"/>
              </a:lnTo>
              <a:lnTo>
                <a:pt x="490934" y="0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500" kern="1200"/>
        </a:p>
      </dsp:txBody>
      <dsp:txXfrm>
        <a:off x="1180233" y="1722443"/>
        <a:ext cx="33904" cy="33904"/>
      </dsp:txXfrm>
    </dsp:sp>
    <dsp:sp modelId="{6B5544B4-CAC1-4035-815C-128B4EECBDA9}">
      <dsp:nvSpPr>
        <dsp:cNvPr id="0" name=""/>
        <dsp:cNvSpPr/>
      </dsp:nvSpPr>
      <dsp:spPr>
        <a:xfrm>
          <a:off x="951717" y="570057"/>
          <a:ext cx="490934" cy="1403204"/>
        </a:xfrm>
        <a:custGeom>
          <a:avLst/>
          <a:gdLst/>
          <a:ahLst/>
          <a:cxnLst/>
          <a:rect l="0" t="0" r="0" b="0"/>
          <a:pathLst>
            <a:path>
              <a:moveTo>
                <a:pt x="0" y="1403204"/>
              </a:moveTo>
              <a:lnTo>
                <a:pt x="245467" y="1403204"/>
              </a:lnTo>
              <a:lnTo>
                <a:pt x="245467" y="0"/>
              </a:lnTo>
              <a:lnTo>
                <a:pt x="490934" y="0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500" kern="1200"/>
        </a:p>
      </dsp:txBody>
      <dsp:txXfrm>
        <a:off x="1160020" y="1234494"/>
        <a:ext cx="74330" cy="74330"/>
      </dsp:txXfrm>
    </dsp:sp>
    <dsp:sp modelId="{16B10253-94DD-4EE1-907A-74D8C494CD43}">
      <dsp:nvSpPr>
        <dsp:cNvPr id="0" name=""/>
        <dsp:cNvSpPr/>
      </dsp:nvSpPr>
      <dsp:spPr>
        <a:xfrm rot="16200000">
          <a:off x="-1391880" y="1599074"/>
          <a:ext cx="3938820" cy="748375"/>
        </a:xfrm>
        <a:prstGeom prst="rect">
          <a:avLst/>
        </a:prstGeom>
        <a:solidFill>
          <a:schemeClr val="accent2">
            <a:alpha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b="1" kern="1200" dirty="0" smtClean="0">
              <a:solidFill>
                <a:schemeClr val="bg1"/>
              </a:solidFill>
              <a:latin typeface="Arial" charset="0"/>
              <a:ea typeface="Geneva" charset="0"/>
              <a:cs typeface="Arial" charset="0"/>
            </a:rPr>
            <a:t>RESULTADOS</a:t>
          </a:r>
          <a:endParaRPr lang="pt-PT" sz="2000" b="1" kern="1200" dirty="0">
            <a:solidFill>
              <a:schemeClr val="bg1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-1391880" y="1599074"/>
        <a:ext cx="3938820" cy="748375"/>
      </dsp:txXfrm>
    </dsp:sp>
    <dsp:sp modelId="{0F223507-4537-40D8-A315-6691476C84E5}">
      <dsp:nvSpPr>
        <dsp:cNvPr id="0" name=""/>
        <dsp:cNvSpPr/>
      </dsp:nvSpPr>
      <dsp:spPr>
        <a:xfrm>
          <a:off x="1442652" y="195869"/>
          <a:ext cx="6050204" cy="748375"/>
        </a:xfrm>
        <a:prstGeom prst="rect">
          <a:avLst/>
        </a:prstGeom>
        <a:solidFill>
          <a:schemeClr val="accent2">
            <a:alpha val="7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2.182 CANDIDATURAS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1442652" y="195869"/>
        <a:ext cx="6050204" cy="748375"/>
      </dsp:txXfrm>
    </dsp:sp>
    <dsp:sp modelId="{ED04CF3D-EA3A-4DDE-A4E5-A61497ECF63A}">
      <dsp:nvSpPr>
        <dsp:cNvPr id="0" name=""/>
        <dsp:cNvSpPr/>
      </dsp:nvSpPr>
      <dsp:spPr>
        <a:xfrm>
          <a:off x="1442652" y="1131339"/>
          <a:ext cx="6028505" cy="748375"/>
        </a:xfrm>
        <a:prstGeom prst="rect">
          <a:avLst/>
        </a:prstGeom>
        <a:solidFill>
          <a:schemeClr val="accent2">
            <a:alpha val="7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1.216 CANDIDATURAS SELECIONADAS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1442652" y="1131339"/>
        <a:ext cx="6028505" cy="748375"/>
      </dsp:txXfrm>
    </dsp:sp>
    <dsp:sp modelId="{4C0F7543-35A9-488B-8B66-9ED42A42DE9D}">
      <dsp:nvSpPr>
        <dsp:cNvPr id="0" name=""/>
        <dsp:cNvSpPr/>
      </dsp:nvSpPr>
      <dsp:spPr>
        <a:xfrm>
          <a:off x="1442652" y="2066809"/>
          <a:ext cx="6028505" cy="748375"/>
        </a:xfrm>
        <a:prstGeom prst="rect">
          <a:avLst/>
        </a:prstGeom>
        <a:solidFill>
          <a:schemeClr val="accent2">
            <a:alpha val="7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INVESTIMENTO ELEGÍVEL </a:t>
          </a:r>
          <a:r>
            <a:rPr lang="pt-PT" kern="1200" dirty="0" smtClean="0">
              <a:latin typeface="Arial" pitchFamily="34" charset="0"/>
              <a:cs typeface="Arial" pitchFamily="34" charset="0"/>
            </a:rPr>
            <a:t>462 M€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1442652" y="2066809"/>
        <a:ext cx="6028505" cy="748375"/>
      </dsp:txXfrm>
    </dsp:sp>
    <dsp:sp modelId="{50BF7A64-F45F-4EAC-A6AE-FC179AC6FF4A}">
      <dsp:nvSpPr>
        <dsp:cNvPr id="0" name=""/>
        <dsp:cNvSpPr/>
      </dsp:nvSpPr>
      <dsp:spPr>
        <a:xfrm>
          <a:off x="1442652" y="3002279"/>
          <a:ext cx="6028505" cy="748375"/>
        </a:xfrm>
        <a:prstGeom prst="rect">
          <a:avLst/>
        </a:prstGeom>
        <a:solidFill>
          <a:schemeClr val="accent2">
            <a:alpha val="7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INCENTIVO 215</a:t>
          </a:r>
          <a:r>
            <a:rPr lang="pt-PT" kern="1200" dirty="0" smtClean="0">
              <a:latin typeface="Arial" pitchFamily="34" charset="0"/>
              <a:cs typeface="Arial" pitchFamily="34" charset="0"/>
            </a:rPr>
            <a:t> M€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1442652" y="3002279"/>
        <a:ext cx="6028505" cy="748375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A0939D-9A33-442F-A4A6-685470FD1F07}">
      <dsp:nvSpPr>
        <dsp:cNvPr id="0" name=""/>
        <dsp:cNvSpPr/>
      </dsp:nvSpPr>
      <dsp:spPr>
        <a:xfrm>
          <a:off x="2401142" y="0"/>
          <a:ext cx="5292963" cy="1140023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600" b="0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Projetos conjuntos: </a:t>
          </a:r>
          <a:r>
            <a:rPr lang="pt-PT" sz="1600" b="0" kern="1200" dirty="0" smtClean="0">
              <a:solidFill>
                <a:srgbClr val="991324"/>
              </a:solidFill>
              <a:latin typeface="Arial" charset="0"/>
              <a:cs typeface="Arial" charset="0"/>
            </a:rPr>
            <a:t>2.831 empresas envolvidas</a:t>
          </a:r>
          <a:endParaRPr lang="pt-PT" sz="1600" b="0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PT" sz="1000" b="0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600" b="0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Participaram em cerca de 330 ações de promoção internacional</a:t>
          </a:r>
          <a:endParaRPr lang="pt-PT" sz="1600" b="0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2401142" y="142503"/>
        <a:ext cx="4865454" cy="855017"/>
      </dsp:txXfrm>
    </dsp:sp>
    <dsp:sp modelId="{5EFDDC35-E431-4A83-8F2E-375C0CE20219}">
      <dsp:nvSpPr>
        <dsp:cNvPr id="0" name=""/>
        <dsp:cNvSpPr/>
      </dsp:nvSpPr>
      <dsp:spPr>
        <a:xfrm>
          <a:off x="2093" y="0"/>
          <a:ext cx="2399049" cy="1140023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kern="1200" dirty="0" smtClean="0">
              <a:latin typeface="Arial" pitchFamily="34" charset="0"/>
              <a:cs typeface="Arial" pitchFamily="34" charset="0"/>
            </a:rPr>
            <a:t>INTERNACIONALIZAÇÃO</a:t>
          </a:r>
          <a:endParaRPr lang="pt-PT" sz="1400" b="1" kern="1200" dirty="0">
            <a:solidFill>
              <a:schemeClr val="bg1"/>
            </a:solidFill>
            <a:latin typeface="Arial" pitchFamily="34" charset="0"/>
            <a:ea typeface="Geneva" charset="0"/>
            <a:cs typeface="Arial" pitchFamily="34" charset="0"/>
          </a:endParaRPr>
        </a:p>
      </dsp:txBody>
      <dsp:txXfrm>
        <a:off x="57744" y="55651"/>
        <a:ext cx="2287747" cy="1028721"/>
      </dsp:txXfrm>
    </dsp:sp>
    <dsp:sp modelId="{840D4F23-41FD-4CF5-816E-B09FD4C38733}">
      <dsp:nvSpPr>
        <dsp:cNvPr id="0" name=""/>
        <dsp:cNvSpPr/>
      </dsp:nvSpPr>
      <dsp:spPr>
        <a:xfrm>
          <a:off x="2385305" y="1254025"/>
          <a:ext cx="5310700" cy="1140023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800" b="0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428 Vales aprovados</a:t>
          </a:r>
          <a:endParaRPr lang="pt-PT" sz="1800" b="0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PT" sz="1600" b="0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800" b="0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Em decisão 1.334 Vales</a:t>
          </a:r>
          <a:endParaRPr lang="pt-PT" sz="1800" b="0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2385305" y="1396528"/>
        <a:ext cx="4883191" cy="855017"/>
      </dsp:txXfrm>
    </dsp:sp>
    <dsp:sp modelId="{494A905B-51B7-4944-9F3D-29C7C303FBDC}">
      <dsp:nvSpPr>
        <dsp:cNvPr id="0" name=""/>
        <dsp:cNvSpPr/>
      </dsp:nvSpPr>
      <dsp:spPr>
        <a:xfrm>
          <a:off x="192" y="1254025"/>
          <a:ext cx="2385112" cy="1140023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Vales</a:t>
          </a:r>
          <a:endParaRPr lang="pt-PT" sz="1800" kern="1200" dirty="0">
            <a:latin typeface="Arial" pitchFamily="34" charset="0"/>
            <a:cs typeface="Arial" pitchFamily="34" charset="0"/>
          </a:endParaRPr>
        </a:p>
      </dsp:txBody>
      <dsp:txXfrm>
        <a:off x="55843" y="1309676"/>
        <a:ext cx="2273810" cy="1028721"/>
      </dsp:txXfrm>
    </dsp:sp>
    <dsp:sp modelId="{C997485D-FCC1-4219-866A-B798D13BA0ED}">
      <dsp:nvSpPr>
        <dsp:cNvPr id="0" name=""/>
        <dsp:cNvSpPr/>
      </dsp:nvSpPr>
      <dsp:spPr>
        <a:xfrm>
          <a:off x="2399919" y="2508051"/>
          <a:ext cx="5292404" cy="1140023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800" b="0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Apoio direto: 583 postos de trabalho</a:t>
          </a:r>
          <a:endParaRPr lang="pt-PT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PT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800" b="0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Variação de postos de trabalho: 2.300</a:t>
          </a:r>
          <a:endParaRPr lang="pt-PT" sz="1800" kern="1200" dirty="0"/>
        </a:p>
      </dsp:txBody>
      <dsp:txXfrm>
        <a:off x="2399919" y="2650554"/>
        <a:ext cx="4864895" cy="855017"/>
      </dsp:txXfrm>
    </dsp:sp>
    <dsp:sp modelId="{8996B770-E6EB-4AB0-8164-AFAD586BAFBD}">
      <dsp:nvSpPr>
        <dsp:cNvPr id="0" name=""/>
        <dsp:cNvSpPr/>
      </dsp:nvSpPr>
      <dsp:spPr>
        <a:xfrm>
          <a:off x="3875" y="2508051"/>
          <a:ext cx="2396043" cy="1140023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Criação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 Emprego</a:t>
          </a:r>
          <a:endParaRPr lang="pt-PT" sz="1800" kern="1200" dirty="0">
            <a:latin typeface="Arial" pitchFamily="34" charset="0"/>
            <a:cs typeface="Arial" pitchFamily="34" charset="0"/>
          </a:endParaRPr>
        </a:p>
      </dsp:txBody>
      <dsp:txXfrm>
        <a:off x="59526" y="2563702"/>
        <a:ext cx="2284741" cy="1028721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71C366-20A4-44EE-8962-F20FA5412BF2}">
      <dsp:nvSpPr>
        <dsp:cNvPr id="0" name=""/>
        <dsp:cNvSpPr/>
      </dsp:nvSpPr>
      <dsp:spPr>
        <a:xfrm>
          <a:off x="0" y="2201806"/>
          <a:ext cx="7696199" cy="1444623"/>
        </a:xfrm>
        <a:prstGeom prst="rect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b="1" kern="1200" dirty="0" smtClean="0">
              <a:latin typeface="Arial" pitchFamily="34" charset="0"/>
              <a:cs typeface="Arial" pitchFamily="34" charset="0"/>
            </a:rPr>
            <a:t>AAC n.º 10/SI/2012 –  PROJETOS INDIVIDUAIS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0" y="2201806"/>
        <a:ext cx="7696199" cy="780096"/>
      </dsp:txXfrm>
    </dsp:sp>
    <dsp:sp modelId="{BB4D5A74-D993-4B31-A758-E15AAE07CE05}">
      <dsp:nvSpPr>
        <dsp:cNvPr id="0" name=""/>
        <dsp:cNvSpPr/>
      </dsp:nvSpPr>
      <dsp:spPr>
        <a:xfrm>
          <a:off x="0" y="2953010"/>
          <a:ext cx="3848099" cy="664526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Candidaturas abertas em continuo até 16 de setembro 2013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0" y="2953010"/>
        <a:ext cx="3848099" cy="664526"/>
      </dsp:txXfrm>
    </dsp:sp>
    <dsp:sp modelId="{5CA96736-1350-4E6F-9975-14A711177624}">
      <dsp:nvSpPr>
        <dsp:cNvPr id="0" name=""/>
        <dsp:cNvSpPr/>
      </dsp:nvSpPr>
      <dsp:spPr>
        <a:xfrm>
          <a:off x="3848099" y="2953010"/>
          <a:ext cx="3848099" cy="664526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-13333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Dotação 15 M€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3848099" y="2953010"/>
        <a:ext cx="3848099" cy="664526"/>
      </dsp:txXfrm>
    </dsp:sp>
    <dsp:sp modelId="{4AAF87A0-6923-4BDA-82DE-F8104BFF4876}">
      <dsp:nvSpPr>
        <dsp:cNvPr id="0" name=""/>
        <dsp:cNvSpPr/>
      </dsp:nvSpPr>
      <dsp:spPr>
        <a:xfrm rot="10800000">
          <a:off x="0" y="1645"/>
          <a:ext cx="7696199" cy="2221830"/>
        </a:xfrm>
        <a:prstGeom prst="upArrowCallout">
          <a:avLst/>
        </a:prstGeom>
        <a:solidFill>
          <a:schemeClr val="accent2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b="1" kern="1200" dirty="0" smtClean="0">
              <a:latin typeface="Arial" pitchFamily="34" charset="0"/>
              <a:cs typeface="Arial" pitchFamily="34" charset="0"/>
            </a:rPr>
            <a:t>AAC n.º 06/SI/2012 – PROJETOS SIMPLIFICADOS “VALES”</a:t>
          </a:r>
          <a:endParaRPr lang="pt-PT" sz="2000" b="1" kern="1200" dirty="0">
            <a:solidFill>
              <a:schemeClr val="bg1"/>
            </a:solidFill>
            <a:latin typeface="Arial" pitchFamily="34" charset="0"/>
            <a:ea typeface="Geneva" charset="0"/>
            <a:cs typeface="Arial" pitchFamily="34" charset="0"/>
          </a:endParaRPr>
        </a:p>
      </dsp:txBody>
      <dsp:txXfrm rot="-10800000">
        <a:off x="0" y="1645"/>
        <a:ext cx="7696199" cy="779862"/>
      </dsp:txXfrm>
    </dsp:sp>
    <dsp:sp modelId="{3A4F8883-93A3-4F11-85AF-0F023E6925F0}">
      <dsp:nvSpPr>
        <dsp:cNvPr id="0" name=""/>
        <dsp:cNvSpPr/>
      </dsp:nvSpPr>
      <dsp:spPr>
        <a:xfrm>
          <a:off x="0" y="781507"/>
          <a:ext cx="3848099" cy="66432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-26667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Candidaturas abertas em continuo até 13 de novembro 2013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0" y="781507"/>
        <a:ext cx="3848099" cy="664327"/>
      </dsp:txXfrm>
    </dsp:sp>
    <dsp:sp modelId="{5E8814F0-C10A-4CEF-B3DA-F42359A608C7}">
      <dsp:nvSpPr>
        <dsp:cNvPr id="0" name=""/>
        <dsp:cNvSpPr/>
      </dsp:nvSpPr>
      <dsp:spPr>
        <a:xfrm>
          <a:off x="3848099" y="781507"/>
          <a:ext cx="3848099" cy="66432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Dotação 10 M€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3848099" y="781507"/>
        <a:ext cx="3848099" cy="664327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71C366-20A4-44EE-8962-F20FA5412BF2}">
      <dsp:nvSpPr>
        <dsp:cNvPr id="0" name=""/>
        <dsp:cNvSpPr/>
      </dsp:nvSpPr>
      <dsp:spPr>
        <a:xfrm>
          <a:off x="0" y="2201806"/>
          <a:ext cx="7696199" cy="1444623"/>
        </a:xfrm>
        <a:prstGeom prst="rect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b="1" kern="1200" dirty="0" smtClean="0">
              <a:latin typeface="Arial" pitchFamily="34" charset="0"/>
              <a:cs typeface="Arial" pitchFamily="34" charset="0"/>
            </a:rPr>
            <a:t>AAC n.º 11/SI/2012 –  PROJETOS CONJUNTOS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b="1" kern="1200" dirty="0" smtClean="0">
              <a:latin typeface="Arial" pitchFamily="34" charset="0"/>
              <a:cs typeface="Arial" pitchFamily="34" charset="0"/>
            </a:rPr>
            <a:t>OUTRAS TIPOLOGIAS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0" y="2201806"/>
        <a:ext cx="7696199" cy="780096"/>
      </dsp:txXfrm>
    </dsp:sp>
    <dsp:sp modelId="{BB4D5A74-D993-4B31-A758-E15AAE07CE05}">
      <dsp:nvSpPr>
        <dsp:cNvPr id="0" name=""/>
        <dsp:cNvSpPr/>
      </dsp:nvSpPr>
      <dsp:spPr>
        <a:xfrm>
          <a:off x="0" y="2953010"/>
          <a:ext cx="3848099" cy="664526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Fase 1 termina a 31 de dezembro 2012 e Fase 2 de 22 de abril a 15 de julho de 2013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0" y="2953010"/>
        <a:ext cx="3848099" cy="664526"/>
      </dsp:txXfrm>
    </dsp:sp>
    <dsp:sp modelId="{5CA96736-1350-4E6F-9975-14A711177624}">
      <dsp:nvSpPr>
        <dsp:cNvPr id="0" name=""/>
        <dsp:cNvSpPr/>
      </dsp:nvSpPr>
      <dsp:spPr>
        <a:xfrm>
          <a:off x="3848099" y="2953010"/>
          <a:ext cx="3848099" cy="664526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-13333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Dotação 5 M€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3848099" y="2953010"/>
        <a:ext cx="3848099" cy="664526"/>
      </dsp:txXfrm>
    </dsp:sp>
    <dsp:sp modelId="{4AAF87A0-6923-4BDA-82DE-F8104BFF4876}">
      <dsp:nvSpPr>
        <dsp:cNvPr id="0" name=""/>
        <dsp:cNvSpPr/>
      </dsp:nvSpPr>
      <dsp:spPr>
        <a:xfrm rot="10800000">
          <a:off x="0" y="1645"/>
          <a:ext cx="7696199" cy="2221830"/>
        </a:xfrm>
        <a:prstGeom prst="upArrowCallout">
          <a:avLst/>
        </a:prstGeom>
        <a:solidFill>
          <a:schemeClr val="accent2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b="1" kern="1200" dirty="0" smtClean="0">
              <a:latin typeface="Arial" pitchFamily="34" charset="0"/>
              <a:cs typeface="Arial" pitchFamily="34" charset="0"/>
            </a:rPr>
            <a:t>AAC n.º 05/SI/2012 – PROJETOS CONJUNTOS INTERNACIONALIZAÇÃO</a:t>
          </a:r>
          <a:endParaRPr lang="pt-PT" sz="2000" b="1" kern="1200" dirty="0">
            <a:solidFill>
              <a:schemeClr val="bg1"/>
            </a:solidFill>
            <a:latin typeface="Arial" pitchFamily="34" charset="0"/>
            <a:ea typeface="Geneva" charset="0"/>
            <a:cs typeface="Arial" pitchFamily="34" charset="0"/>
          </a:endParaRPr>
        </a:p>
      </dsp:txBody>
      <dsp:txXfrm rot="-10800000">
        <a:off x="0" y="1645"/>
        <a:ext cx="7696199" cy="779862"/>
      </dsp:txXfrm>
    </dsp:sp>
    <dsp:sp modelId="{3A4F8883-93A3-4F11-85AF-0F023E6925F0}">
      <dsp:nvSpPr>
        <dsp:cNvPr id="0" name=""/>
        <dsp:cNvSpPr/>
      </dsp:nvSpPr>
      <dsp:spPr>
        <a:xfrm>
          <a:off x="0" y="781507"/>
          <a:ext cx="3848099" cy="66432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-26667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Fase 1 terminada e Fase 2 de 22 de abril a 15 de julho de 2013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0" y="781507"/>
        <a:ext cx="3848099" cy="664327"/>
      </dsp:txXfrm>
    </dsp:sp>
    <dsp:sp modelId="{5E8814F0-C10A-4CEF-B3DA-F42359A608C7}">
      <dsp:nvSpPr>
        <dsp:cNvPr id="0" name=""/>
        <dsp:cNvSpPr/>
      </dsp:nvSpPr>
      <dsp:spPr>
        <a:xfrm>
          <a:off x="3848099" y="781507"/>
          <a:ext cx="3848099" cy="664327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Dotação 55 M€</a:t>
          </a:r>
          <a:endParaRPr lang="pt-PT" sz="16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3848099" y="781507"/>
        <a:ext cx="3848099" cy="664327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A50D3C-7B73-407C-844F-CDECD5653FD7}">
      <dsp:nvSpPr>
        <dsp:cNvPr id="0" name=""/>
        <dsp:cNvSpPr/>
      </dsp:nvSpPr>
      <dsp:spPr>
        <a:xfrm>
          <a:off x="2879936" y="585"/>
          <a:ext cx="4319905" cy="2285106"/>
        </a:xfrm>
        <a:prstGeom prst="rightArrow">
          <a:avLst>
            <a:gd name="adj1" fmla="val 75000"/>
            <a:gd name="adj2" fmla="val 50000"/>
          </a:avLst>
        </a:prstGeom>
        <a:gradFill rotWithShape="0">
          <a:gsLst>
            <a:gs pos="0">
              <a:schemeClr val="accent6">
                <a:tint val="50000"/>
                <a:satMod val="300000"/>
              </a:schemeClr>
            </a:gs>
            <a:gs pos="35000">
              <a:schemeClr val="accent6">
                <a:tint val="37000"/>
                <a:satMod val="300000"/>
              </a:schemeClr>
            </a:gs>
            <a:gs pos="100000">
              <a:schemeClr val="accent6">
                <a:tint val="15000"/>
                <a:satMod val="350000"/>
              </a:schemeClr>
            </a:gs>
          </a:gsLst>
          <a:lin ang="16200000" scaled="1"/>
        </a:gradFill>
        <a:ln w="25400" cap="flat" cmpd="sng" algn="ctr">
          <a:noFill/>
          <a:prstDash val="solid"/>
        </a:ln>
        <a:effectLst>
          <a:outerShdw sx="1000" sy="1000" algn="ctr" rotWithShape="0">
            <a:schemeClr val="bg1"/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PT" sz="1400" kern="1200" dirty="0"/>
        </a:p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3200" kern="1200" dirty="0" smtClean="0"/>
            <a:t>Sistema de Apoio a Ações Coletivas</a:t>
          </a:r>
          <a:endParaRPr lang="pt-PT" sz="3200" kern="1200" dirty="0"/>
        </a:p>
      </dsp:txBody>
      <dsp:txXfrm>
        <a:off x="2879936" y="286223"/>
        <a:ext cx="3462990" cy="1713830"/>
      </dsp:txXfrm>
    </dsp:sp>
    <dsp:sp modelId="{DBFF3BE6-1ED3-45BD-B219-428FAD19BB4A}">
      <dsp:nvSpPr>
        <dsp:cNvPr id="0" name=""/>
        <dsp:cNvSpPr/>
      </dsp:nvSpPr>
      <dsp:spPr>
        <a:xfrm>
          <a:off x="0" y="585"/>
          <a:ext cx="2879936" cy="2285106"/>
        </a:xfrm>
        <a:prstGeom prst="roundRect">
          <a:avLst/>
        </a:prstGeom>
        <a:solidFill>
          <a:schemeClr val="accent6">
            <a:lumMod val="75000"/>
          </a:schemeClr>
        </a:solidFill>
        <a:ln w="25400" cap="flat" cmpd="sng" algn="ctr">
          <a:solidFill>
            <a:schemeClr val="accent6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6500" kern="1200" dirty="0" smtClean="0">
              <a:solidFill>
                <a:schemeClr val="tx1"/>
              </a:solidFill>
            </a:rPr>
            <a:t>SIAC</a:t>
          </a:r>
          <a:endParaRPr lang="pt-PT" sz="6500" kern="1200" dirty="0">
            <a:solidFill>
              <a:schemeClr val="tx1"/>
            </a:solidFill>
          </a:endParaRPr>
        </a:p>
      </dsp:txBody>
      <dsp:txXfrm>
        <a:off x="111550" y="112135"/>
        <a:ext cx="2656836" cy="2062006"/>
      </dsp:txXfrm>
    </dsp:sp>
    <dsp:sp modelId="{BF4E6C0B-301F-487F-8C07-BBED2FB45B3D}">
      <dsp:nvSpPr>
        <dsp:cNvPr id="0" name=""/>
        <dsp:cNvSpPr/>
      </dsp:nvSpPr>
      <dsp:spPr>
        <a:xfrm>
          <a:off x="2879936" y="2514202"/>
          <a:ext cx="4319905" cy="2285106"/>
        </a:xfrm>
        <a:prstGeom prst="rightArrow">
          <a:avLst>
            <a:gd name="adj1" fmla="val 75000"/>
            <a:gd name="adj2" fmla="val 50000"/>
          </a:avLst>
        </a:prstGeom>
        <a:gradFill rotWithShape="0">
          <a:gsLst>
            <a:gs pos="0">
              <a:schemeClr val="accent6">
                <a:lumMod val="60000"/>
                <a:lumOff val="40000"/>
              </a:schemeClr>
            </a:gs>
            <a:gs pos="35000">
              <a:schemeClr val="accent6">
                <a:tint val="37000"/>
                <a:satMod val="300000"/>
              </a:schemeClr>
            </a:gs>
            <a:gs pos="100000">
              <a:schemeClr val="accent6">
                <a:tint val="15000"/>
                <a:satMod val="350000"/>
              </a:schemeClr>
            </a:gs>
          </a:gsLst>
          <a:lin ang="16200000" scaled="1"/>
        </a:gra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pt-PT" sz="1400" kern="1200" dirty="0"/>
        </a:p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3200" kern="1200" dirty="0" smtClean="0"/>
            <a:t>Sistema de Apoio à Modernização Administrativa</a:t>
          </a:r>
          <a:endParaRPr lang="pt-PT" sz="3200" kern="1200" dirty="0"/>
        </a:p>
      </dsp:txBody>
      <dsp:txXfrm>
        <a:off x="2879936" y="2799840"/>
        <a:ext cx="3462990" cy="1713830"/>
      </dsp:txXfrm>
    </dsp:sp>
    <dsp:sp modelId="{6B172D87-3C0A-4C3D-ACBE-31D03AD02410}">
      <dsp:nvSpPr>
        <dsp:cNvPr id="0" name=""/>
        <dsp:cNvSpPr/>
      </dsp:nvSpPr>
      <dsp:spPr>
        <a:xfrm>
          <a:off x="0" y="2514202"/>
          <a:ext cx="2879936" cy="2285106"/>
        </a:xfrm>
        <a:prstGeom prst="roundRect">
          <a:avLst/>
        </a:prstGeom>
        <a:solidFill>
          <a:schemeClr val="accent6">
            <a:lumMod val="75000"/>
          </a:schemeClr>
        </a:solidFill>
        <a:ln w="25400" cap="flat" cmpd="sng" algn="ctr">
          <a:solidFill>
            <a:schemeClr val="accent6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6500" kern="1200" dirty="0" smtClean="0">
              <a:solidFill>
                <a:schemeClr val="tx1"/>
              </a:solidFill>
            </a:rPr>
            <a:t>SAMA</a:t>
          </a:r>
          <a:endParaRPr lang="pt-PT" sz="6500" kern="1200" dirty="0">
            <a:solidFill>
              <a:schemeClr val="tx1"/>
            </a:solidFill>
          </a:endParaRPr>
        </a:p>
      </dsp:txBody>
      <dsp:txXfrm>
        <a:off x="111550" y="2625752"/>
        <a:ext cx="2656836" cy="2062006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2BE298-2A0A-41F9-A186-21E62997848D}">
      <dsp:nvSpPr>
        <dsp:cNvPr id="0" name=""/>
        <dsp:cNvSpPr/>
      </dsp:nvSpPr>
      <dsp:spPr>
        <a:xfrm>
          <a:off x="862968" y="1973262"/>
          <a:ext cx="490934" cy="14032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45467" y="0"/>
              </a:lnTo>
              <a:lnTo>
                <a:pt x="245467" y="1403204"/>
              </a:lnTo>
              <a:lnTo>
                <a:pt x="490934" y="1403204"/>
              </a:lnTo>
            </a:path>
          </a:pathLst>
        </a:custGeom>
        <a:noFill/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500" kern="1200" dirty="0"/>
        </a:p>
      </dsp:txBody>
      <dsp:txXfrm>
        <a:off x="1071270" y="2637699"/>
        <a:ext cx="74330" cy="74330"/>
      </dsp:txXfrm>
    </dsp:sp>
    <dsp:sp modelId="{42A5FF64-0624-4F2A-B3CA-05B9C6BA72FC}">
      <dsp:nvSpPr>
        <dsp:cNvPr id="0" name=""/>
        <dsp:cNvSpPr/>
      </dsp:nvSpPr>
      <dsp:spPr>
        <a:xfrm>
          <a:off x="862968" y="1973262"/>
          <a:ext cx="490934" cy="4677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45467" y="0"/>
              </a:lnTo>
              <a:lnTo>
                <a:pt x="245467" y="467734"/>
              </a:lnTo>
              <a:lnTo>
                <a:pt x="490934" y="467734"/>
              </a:lnTo>
            </a:path>
          </a:pathLst>
        </a:custGeom>
        <a:noFill/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500" kern="1200" dirty="0"/>
        </a:p>
      </dsp:txBody>
      <dsp:txXfrm>
        <a:off x="1091484" y="2190177"/>
        <a:ext cx="33904" cy="33904"/>
      </dsp:txXfrm>
    </dsp:sp>
    <dsp:sp modelId="{D6C059D2-C904-4861-9416-7818032D44BD}">
      <dsp:nvSpPr>
        <dsp:cNvPr id="0" name=""/>
        <dsp:cNvSpPr/>
      </dsp:nvSpPr>
      <dsp:spPr>
        <a:xfrm>
          <a:off x="862968" y="1505527"/>
          <a:ext cx="490934" cy="467734"/>
        </a:xfrm>
        <a:custGeom>
          <a:avLst/>
          <a:gdLst/>
          <a:ahLst/>
          <a:cxnLst/>
          <a:rect l="0" t="0" r="0" b="0"/>
          <a:pathLst>
            <a:path>
              <a:moveTo>
                <a:pt x="0" y="467734"/>
              </a:moveTo>
              <a:lnTo>
                <a:pt x="245467" y="467734"/>
              </a:lnTo>
              <a:lnTo>
                <a:pt x="245467" y="0"/>
              </a:lnTo>
              <a:lnTo>
                <a:pt x="490934" y="0"/>
              </a:lnTo>
            </a:path>
          </a:pathLst>
        </a:custGeom>
        <a:noFill/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500" kern="1200" dirty="0"/>
        </a:p>
      </dsp:txBody>
      <dsp:txXfrm>
        <a:off x="1091484" y="1722443"/>
        <a:ext cx="33904" cy="33904"/>
      </dsp:txXfrm>
    </dsp:sp>
    <dsp:sp modelId="{6B5544B4-CAC1-4035-815C-128B4EECBDA9}">
      <dsp:nvSpPr>
        <dsp:cNvPr id="0" name=""/>
        <dsp:cNvSpPr/>
      </dsp:nvSpPr>
      <dsp:spPr>
        <a:xfrm>
          <a:off x="862968" y="570057"/>
          <a:ext cx="490934" cy="1403204"/>
        </a:xfrm>
        <a:custGeom>
          <a:avLst/>
          <a:gdLst/>
          <a:ahLst/>
          <a:cxnLst/>
          <a:rect l="0" t="0" r="0" b="0"/>
          <a:pathLst>
            <a:path>
              <a:moveTo>
                <a:pt x="0" y="1403204"/>
              </a:moveTo>
              <a:lnTo>
                <a:pt x="245467" y="1403204"/>
              </a:lnTo>
              <a:lnTo>
                <a:pt x="245467" y="0"/>
              </a:lnTo>
              <a:lnTo>
                <a:pt x="490934" y="0"/>
              </a:lnTo>
            </a:path>
          </a:pathLst>
        </a:custGeom>
        <a:noFill/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500" kern="1200" dirty="0"/>
        </a:p>
      </dsp:txBody>
      <dsp:txXfrm>
        <a:off x="1071270" y="1234494"/>
        <a:ext cx="74330" cy="74330"/>
      </dsp:txXfrm>
    </dsp:sp>
    <dsp:sp modelId="{16B10253-94DD-4EE1-907A-74D8C494CD43}">
      <dsp:nvSpPr>
        <dsp:cNvPr id="0" name=""/>
        <dsp:cNvSpPr/>
      </dsp:nvSpPr>
      <dsp:spPr>
        <a:xfrm rot="16200000">
          <a:off x="-1480629" y="1599074"/>
          <a:ext cx="3938820" cy="748375"/>
        </a:xfrm>
        <a:prstGeom prst="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b="1" kern="1200" dirty="0" smtClean="0">
              <a:solidFill>
                <a:schemeClr val="bg1"/>
              </a:solidFill>
              <a:latin typeface="Arial" charset="0"/>
              <a:ea typeface="Geneva" charset="0"/>
              <a:cs typeface="Arial" charset="0"/>
            </a:rPr>
            <a:t>COMPETE</a:t>
          </a:r>
          <a:endParaRPr lang="pt-PT" sz="2000" b="1" kern="1200" dirty="0">
            <a:solidFill>
              <a:schemeClr val="bg1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-1480629" y="1599074"/>
        <a:ext cx="3938820" cy="748375"/>
      </dsp:txXfrm>
    </dsp:sp>
    <dsp:sp modelId="{0F223507-4537-40D8-A315-6691476C84E5}">
      <dsp:nvSpPr>
        <dsp:cNvPr id="0" name=""/>
        <dsp:cNvSpPr/>
      </dsp:nvSpPr>
      <dsp:spPr>
        <a:xfrm>
          <a:off x="1353903" y="195869"/>
          <a:ext cx="5212522" cy="748375"/>
        </a:xfrm>
        <a:prstGeom prst="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b="1" kern="1200" dirty="0" smtClean="0">
              <a:latin typeface="Arial" pitchFamily="34" charset="0"/>
              <a:cs typeface="Arial" pitchFamily="34" charset="0"/>
            </a:rPr>
            <a:t>Capital de risco e Linhas de Crédito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Francisco Nunes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1353903" y="195869"/>
        <a:ext cx="5212522" cy="748375"/>
      </dsp:txXfrm>
    </dsp:sp>
    <dsp:sp modelId="{ED04CF3D-EA3A-4DDE-A4E5-A61497ECF63A}">
      <dsp:nvSpPr>
        <dsp:cNvPr id="0" name=""/>
        <dsp:cNvSpPr/>
      </dsp:nvSpPr>
      <dsp:spPr>
        <a:xfrm>
          <a:off x="1353903" y="1131339"/>
          <a:ext cx="5193818" cy="748375"/>
        </a:xfrm>
        <a:prstGeom prst="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b="1" kern="1200" dirty="0" smtClean="0">
              <a:latin typeface="Arial" pitchFamily="34" charset="0"/>
              <a:cs typeface="Arial" pitchFamily="34" charset="0"/>
            </a:rPr>
            <a:t>SI I&amp;DT e SAESCTN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Marco Granja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1353903" y="1131339"/>
        <a:ext cx="5193818" cy="748375"/>
      </dsp:txXfrm>
    </dsp:sp>
    <dsp:sp modelId="{4C0F7543-35A9-488B-8B66-9ED42A42DE9D}">
      <dsp:nvSpPr>
        <dsp:cNvPr id="0" name=""/>
        <dsp:cNvSpPr/>
      </dsp:nvSpPr>
      <dsp:spPr>
        <a:xfrm>
          <a:off x="1353903" y="2066809"/>
          <a:ext cx="5193818" cy="748375"/>
        </a:xfrm>
        <a:prstGeom prst="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b="1" kern="1200" dirty="0" smtClean="0">
              <a:latin typeface="Arial" pitchFamily="34" charset="0"/>
              <a:cs typeface="Arial" pitchFamily="34" charset="0"/>
            </a:rPr>
            <a:t>SI Inovação, SI Qualificação PME e SAMA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Fernando Alfaiate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1353903" y="2066809"/>
        <a:ext cx="5193818" cy="748375"/>
      </dsp:txXfrm>
    </dsp:sp>
    <dsp:sp modelId="{50BF7A64-F45F-4EAC-A6AE-FC179AC6FF4A}">
      <dsp:nvSpPr>
        <dsp:cNvPr id="0" name=""/>
        <dsp:cNvSpPr/>
      </dsp:nvSpPr>
      <dsp:spPr>
        <a:xfrm>
          <a:off x="1353903" y="3002279"/>
          <a:ext cx="5193818" cy="748375"/>
        </a:xfrm>
        <a:prstGeom prst="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b="1" kern="1200" dirty="0" smtClean="0">
              <a:latin typeface="Arial" pitchFamily="34" charset="0"/>
              <a:cs typeface="Arial" pitchFamily="34" charset="0"/>
            </a:rPr>
            <a:t>SIAC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Maria José Caçador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1353903" y="3002279"/>
        <a:ext cx="5193818" cy="748375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E9DF23-FBF6-4656-8E99-E5A4A4F7D796}">
      <dsp:nvSpPr>
        <dsp:cNvPr id="0" name=""/>
        <dsp:cNvSpPr/>
      </dsp:nvSpPr>
      <dsp:spPr>
        <a:xfrm>
          <a:off x="520347" y="2555687"/>
          <a:ext cx="341469" cy="247816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0734" y="0"/>
              </a:lnTo>
              <a:lnTo>
                <a:pt x="170734" y="2478166"/>
              </a:lnTo>
              <a:lnTo>
                <a:pt x="341469" y="2478166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800" kern="1200"/>
        </a:p>
      </dsp:txBody>
      <dsp:txXfrm>
        <a:off x="628543" y="3732231"/>
        <a:ext cx="125079" cy="125079"/>
      </dsp:txXfrm>
    </dsp:sp>
    <dsp:sp modelId="{A45CBD81-C95A-45CB-AD71-C58E401BA638}">
      <dsp:nvSpPr>
        <dsp:cNvPr id="0" name=""/>
        <dsp:cNvSpPr/>
      </dsp:nvSpPr>
      <dsp:spPr>
        <a:xfrm>
          <a:off x="520347" y="2555687"/>
          <a:ext cx="341469" cy="18846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0734" y="0"/>
              </a:lnTo>
              <a:lnTo>
                <a:pt x="170734" y="1884698"/>
              </a:lnTo>
              <a:lnTo>
                <a:pt x="341469" y="1884698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600" kern="1200"/>
        </a:p>
      </dsp:txBody>
      <dsp:txXfrm>
        <a:off x="643198" y="3450152"/>
        <a:ext cx="95769" cy="95769"/>
      </dsp:txXfrm>
    </dsp:sp>
    <dsp:sp modelId="{B7CF5B38-000B-4C2F-AFD7-F307BF9B3F5C}">
      <dsp:nvSpPr>
        <dsp:cNvPr id="0" name=""/>
        <dsp:cNvSpPr/>
      </dsp:nvSpPr>
      <dsp:spPr>
        <a:xfrm>
          <a:off x="520347" y="2555687"/>
          <a:ext cx="341469" cy="12912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0734" y="0"/>
              </a:lnTo>
              <a:lnTo>
                <a:pt x="170734" y="1291230"/>
              </a:lnTo>
              <a:lnTo>
                <a:pt x="341469" y="1291230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500" kern="1200"/>
        </a:p>
      </dsp:txBody>
      <dsp:txXfrm>
        <a:off x="657692" y="3167912"/>
        <a:ext cx="66780" cy="66780"/>
      </dsp:txXfrm>
    </dsp:sp>
    <dsp:sp modelId="{8A71634B-3640-471B-B4A6-330A1255EEE0}">
      <dsp:nvSpPr>
        <dsp:cNvPr id="0" name=""/>
        <dsp:cNvSpPr/>
      </dsp:nvSpPr>
      <dsp:spPr>
        <a:xfrm>
          <a:off x="520347" y="2555687"/>
          <a:ext cx="341469" cy="6977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0734" y="0"/>
              </a:lnTo>
              <a:lnTo>
                <a:pt x="170734" y="697762"/>
              </a:lnTo>
              <a:lnTo>
                <a:pt x="341469" y="697762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500" kern="1200"/>
        </a:p>
      </dsp:txBody>
      <dsp:txXfrm>
        <a:off x="671661" y="2885148"/>
        <a:ext cx="38841" cy="38841"/>
      </dsp:txXfrm>
    </dsp:sp>
    <dsp:sp modelId="{CF141201-0B9B-4B37-8F90-3700D0142D98}">
      <dsp:nvSpPr>
        <dsp:cNvPr id="0" name=""/>
        <dsp:cNvSpPr/>
      </dsp:nvSpPr>
      <dsp:spPr>
        <a:xfrm>
          <a:off x="520347" y="2555687"/>
          <a:ext cx="341469" cy="1042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70734" y="0"/>
              </a:lnTo>
              <a:lnTo>
                <a:pt x="170734" y="104294"/>
              </a:lnTo>
              <a:lnTo>
                <a:pt x="341469" y="104294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500" kern="1200"/>
        </a:p>
      </dsp:txBody>
      <dsp:txXfrm>
        <a:off x="682156" y="2598908"/>
        <a:ext cx="17852" cy="17852"/>
      </dsp:txXfrm>
    </dsp:sp>
    <dsp:sp modelId="{717AB8F0-E4CA-40C7-84A8-E9D475E3E458}">
      <dsp:nvSpPr>
        <dsp:cNvPr id="0" name=""/>
        <dsp:cNvSpPr/>
      </dsp:nvSpPr>
      <dsp:spPr>
        <a:xfrm>
          <a:off x="520347" y="2066513"/>
          <a:ext cx="341469" cy="489173"/>
        </a:xfrm>
        <a:custGeom>
          <a:avLst/>
          <a:gdLst/>
          <a:ahLst/>
          <a:cxnLst/>
          <a:rect l="0" t="0" r="0" b="0"/>
          <a:pathLst>
            <a:path>
              <a:moveTo>
                <a:pt x="0" y="489173"/>
              </a:moveTo>
              <a:lnTo>
                <a:pt x="170734" y="489173"/>
              </a:lnTo>
              <a:lnTo>
                <a:pt x="170734" y="0"/>
              </a:lnTo>
              <a:lnTo>
                <a:pt x="341469" y="0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500" kern="1200"/>
        </a:p>
      </dsp:txBody>
      <dsp:txXfrm>
        <a:off x="676168" y="2296186"/>
        <a:ext cx="29828" cy="29828"/>
      </dsp:txXfrm>
    </dsp:sp>
    <dsp:sp modelId="{70B6F356-9CA9-4068-B793-37AE2B315A1C}">
      <dsp:nvSpPr>
        <dsp:cNvPr id="0" name=""/>
        <dsp:cNvSpPr/>
      </dsp:nvSpPr>
      <dsp:spPr>
        <a:xfrm>
          <a:off x="520347" y="1473045"/>
          <a:ext cx="341469" cy="1082641"/>
        </a:xfrm>
        <a:custGeom>
          <a:avLst/>
          <a:gdLst/>
          <a:ahLst/>
          <a:cxnLst/>
          <a:rect l="0" t="0" r="0" b="0"/>
          <a:pathLst>
            <a:path>
              <a:moveTo>
                <a:pt x="0" y="1082641"/>
              </a:moveTo>
              <a:lnTo>
                <a:pt x="170734" y="1082641"/>
              </a:lnTo>
              <a:lnTo>
                <a:pt x="170734" y="0"/>
              </a:lnTo>
              <a:lnTo>
                <a:pt x="341469" y="0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500" kern="1200"/>
        </a:p>
      </dsp:txBody>
      <dsp:txXfrm>
        <a:off x="662702" y="1985986"/>
        <a:ext cx="56760" cy="56760"/>
      </dsp:txXfrm>
    </dsp:sp>
    <dsp:sp modelId="{9F1C0D30-8BF3-4750-A6AF-AB38CF22051D}">
      <dsp:nvSpPr>
        <dsp:cNvPr id="0" name=""/>
        <dsp:cNvSpPr/>
      </dsp:nvSpPr>
      <dsp:spPr>
        <a:xfrm>
          <a:off x="520347" y="879577"/>
          <a:ext cx="341469" cy="1676110"/>
        </a:xfrm>
        <a:custGeom>
          <a:avLst/>
          <a:gdLst/>
          <a:ahLst/>
          <a:cxnLst/>
          <a:rect l="0" t="0" r="0" b="0"/>
          <a:pathLst>
            <a:path>
              <a:moveTo>
                <a:pt x="0" y="1676110"/>
              </a:moveTo>
              <a:lnTo>
                <a:pt x="170734" y="1676110"/>
              </a:lnTo>
              <a:lnTo>
                <a:pt x="170734" y="0"/>
              </a:lnTo>
              <a:lnTo>
                <a:pt x="341469" y="0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600" kern="1200"/>
        </a:p>
      </dsp:txBody>
      <dsp:txXfrm>
        <a:off x="648319" y="1674869"/>
        <a:ext cx="85526" cy="85526"/>
      </dsp:txXfrm>
    </dsp:sp>
    <dsp:sp modelId="{6B5544B4-CAC1-4035-815C-128B4EECBDA9}">
      <dsp:nvSpPr>
        <dsp:cNvPr id="0" name=""/>
        <dsp:cNvSpPr/>
      </dsp:nvSpPr>
      <dsp:spPr>
        <a:xfrm>
          <a:off x="520347" y="286109"/>
          <a:ext cx="341469" cy="2269578"/>
        </a:xfrm>
        <a:custGeom>
          <a:avLst/>
          <a:gdLst/>
          <a:ahLst/>
          <a:cxnLst/>
          <a:rect l="0" t="0" r="0" b="0"/>
          <a:pathLst>
            <a:path>
              <a:moveTo>
                <a:pt x="0" y="2269578"/>
              </a:moveTo>
              <a:lnTo>
                <a:pt x="170734" y="2269578"/>
              </a:lnTo>
              <a:lnTo>
                <a:pt x="170734" y="0"/>
              </a:lnTo>
              <a:lnTo>
                <a:pt x="341469" y="0"/>
              </a:lnTo>
            </a:path>
          </a:pathLst>
        </a:custGeom>
        <a:noFill/>
        <a:ln w="25400" cap="flat" cmpd="sng" algn="ctr">
          <a:solidFill>
            <a:srgbClr val="E47823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800" kern="1200" dirty="0"/>
        </a:p>
      </dsp:txBody>
      <dsp:txXfrm>
        <a:off x="633704" y="1363520"/>
        <a:ext cx="114756" cy="114756"/>
      </dsp:txXfrm>
    </dsp:sp>
    <dsp:sp modelId="{16B10253-94DD-4EE1-907A-74D8C494CD43}">
      <dsp:nvSpPr>
        <dsp:cNvPr id="0" name=""/>
        <dsp:cNvSpPr/>
      </dsp:nvSpPr>
      <dsp:spPr>
        <a:xfrm rot="16200000">
          <a:off x="-1596420" y="2296998"/>
          <a:ext cx="3716158" cy="517377"/>
        </a:xfrm>
        <a:prstGeom prst="rect">
          <a:avLst/>
        </a:prstGeom>
        <a:solidFill>
          <a:srgbClr val="E4782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b="1" kern="1200" dirty="0" smtClean="0">
              <a:solidFill>
                <a:schemeClr val="bg1"/>
              </a:solidFill>
              <a:latin typeface="Arial" charset="0"/>
              <a:ea typeface="Geneva" charset="0"/>
              <a:cs typeface="Arial" charset="0"/>
            </a:rPr>
            <a:t>PARCEIROS</a:t>
          </a:r>
          <a:endParaRPr lang="pt-PT" sz="2000" b="1" kern="1200" dirty="0">
            <a:solidFill>
              <a:schemeClr val="bg1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-1596420" y="2296998"/>
        <a:ext cx="3716158" cy="517377"/>
      </dsp:txXfrm>
    </dsp:sp>
    <dsp:sp modelId="{0F223507-4537-40D8-A315-6691476C84E5}">
      <dsp:nvSpPr>
        <dsp:cNvPr id="0" name=""/>
        <dsp:cNvSpPr/>
      </dsp:nvSpPr>
      <dsp:spPr>
        <a:xfrm>
          <a:off x="861817" y="54047"/>
          <a:ext cx="2268750" cy="464123"/>
        </a:xfrm>
        <a:prstGeom prst="rect">
          <a:avLst/>
        </a:prstGeom>
        <a:solidFill>
          <a:srgbClr val="E4782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PME Investimentos</a:t>
          </a:r>
        </a:p>
      </dsp:txBody>
      <dsp:txXfrm>
        <a:off x="861817" y="54047"/>
        <a:ext cx="2268750" cy="464123"/>
      </dsp:txXfrm>
    </dsp:sp>
    <dsp:sp modelId="{6255C604-1B59-44B4-87D7-7A559655DDC9}">
      <dsp:nvSpPr>
        <dsp:cNvPr id="0" name=""/>
        <dsp:cNvSpPr/>
      </dsp:nvSpPr>
      <dsp:spPr>
        <a:xfrm>
          <a:off x="861817" y="647515"/>
          <a:ext cx="2268750" cy="464123"/>
        </a:xfrm>
        <a:prstGeom prst="rect">
          <a:avLst/>
        </a:prstGeom>
        <a:solidFill>
          <a:srgbClr val="E4782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SPGM</a:t>
          </a:r>
        </a:p>
      </dsp:txBody>
      <dsp:txXfrm>
        <a:off x="861817" y="647515"/>
        <a:ext cx="2268750" cy="464123"/>
      </dsp:txXfrm>
    </dsp:sp>
    <dsp:sp modelId="{3B9AF2A2-8242-4DA7-A7BB-29EEAA42AD0B}">
      <dsp:nvSpPr>
        <dsp:cNvPr id="0" name=""/>
        <dsp:cNvSpPr/>
      </dsp:nvSpPr>
      <dsp:spPr>
        <a:xfrm>
          <a:off x="861817" y="1240983"/>
          <a:ext cx="2268750" cy="464123"/>
        </a:xfrm>
        <a:prstGeom prst="rect">
          <a:avLst/>
        </a:prstGeom>
        <a:solidFill>
          <a:srgbClr val="E4782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Agência de Inovação</a:t>
          </a:r>
        </a:p>
      </dsp:txBody>
      <dsp:txXfrm>
        <a:off x="861817" y="1240983"/>
        <a:ext cx="2268750" cy="464123"/>
      </dsp:txXfrm>
    </dsp:sp>
    <dsp:sp modelId="{02BEE6C2-FB92-4555-A75C-C5A36C3A178A}">
      <dsp:nvSpPr>
        <dsp:cNvPr id="0" name=""/>
        <dsp:cNvSpPr/>
      </dsp:nvSpPr>
      <dsp:spPr>
        <a:xfrm>
          <a:off x="861817" y="1834451"/>
          <a:ext cx="2268750" cy="464123"/>
        </a:xfrm>
        <a:prstGeom prst="rect">
          <a:avLst/>
        </a:prstGeom>
        <a:solidFill>
          <a:srgbClr val="E4782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Ciência </a:t>
          </a:r>
          <a:r>
            <a:rPr lang="pt-PT" sz="1800" kern="1200" dirty="0" smtClean="0">
              <a:latin typeface="Arial" pitchFamily="34" charset="0"/>
              <a:cs typeface="Arial" pitchFamily="34" charset="0"/>
            </a:rPr>
            <a:t>Viva</a:t>
          </a:r>
          <a:endParaRPr lang="pt-PT" sz="1800" kern="1200" dirty="0" smtClean="0">
            <a:latin typeface="Arial" pitchFamily="34" charset="0"/>
            <a:cs typeface="Arial" pitchFamily="34" charset="0"/>
          </a:endParaRPr>
        </a:p>
      </dsp:txBody>
      <dsp:txXfrm>
        <a:off x="861817" y="1834451"/>
        <a:ext cx="2268750" cy="464123"/>
      </dsp:txXfrm>
    </dsp:sp>
    <dsp:sp modelId="{C161363D-722E-4313-9F42-A777A54ADD52}">
      <dsp:nvSpPr>
        <dsp:cNvPr id="0" name=""/>
        <dsp:cNvSpPr/>
      </dsp:nvSpPr>
      <dsp:spPr>
        <a:xfrm>
          <a:off x="861817" y="2427920"/>
          <a:ext cx="2268750" cy="464123"/>
        </a:xfrm>
        <a:prstGeom prst="rect">
          <a:avLst/>
        </a:prstGeom>
        <a:solidFill>
          <a:srgbClr val="E4782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FCT</a:t>
          </a:r>
        </a:p>
      </dsp:txBody>
      <dsp:txXfrm>
        <a:off x="861817" y="2427920"/>
        <a:ext cx="2268750" cy="464123"/>
      </dsp:txXfrm>
    </dsp:sp>
    <dsp:sp modelId="{7EAC28A4-0D11-4CE2-A8A5-DF86E698BD6E}">
      <dsp:nvSpPr>
        <dsp:cNvPr id="0" name=""/>
        <dsp:cNvSpPr/>
      </dsp:nvSpPr>
      <dsp:spPr>
        <a:xfrm>
          <a:off x="861817" y="3021388"/>
          <a:ext cx="2268750" cy="464123"/>
        </a:xfrm>
        <a:prstGeom prst="rect">
          <a:avLst/>
        </a:prstGeom>
        <a:solidFill>
          <a:srgbClr val="E4782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IAPMEI</a:t>
          </a:r>
        </a:p>
      </dsp:txBody>
      <dsp:txXfrm>
        <a:off x="861817" y="3021388"/>
        <a:ext cx="2268750" cy="464123"/>
      </dsp:txXfrm>
    </dsp:sp>
    <dsp:sp modelId="{49F981A8-5ADA-438E-A416-803384FCD6E6}">
      <dsp:nvSpPr>
        <dsp:cNvPr id="0" name=""/>
        <dsp:cNvSpPr/>
      </dsp:nvSpPr>
      <dsp:spPr>
        <a:xfrm>
          <a:off x="861817" y="3614856"/>
          <a:ext cx="2268750" cy="464123"/>
        </a:xfrm>
        <a:prstGeom prst="rect">
          <a:avLst/>
        </a:prstGeom>
        <a:solidFill>
          <a:srgbClr val="E4782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AICEP</a:t>
          </a:r>
        </a:p>
      </dsp:txBody>
      <dsp:txXfrm>
        <a:off x="861817" y="3614856"/>
        <a:ext cx="2268750" cy="464123"/>
      </dsp:txXfrm>
    </dsp:sp>
    <dsp:sp modelId="{B66B1C4E-11AB-4D23-A5A5-187F592C5682}">
      <dsp:nvSpPr>
        <dsp:cNvPr id="0" name=""/>
        <dsp:cNvSpPr/>
      </dsp:nvSpPr>
      <dsp:spPr>
        <a:xfrm>
          <a:off x="861817" y="4208324"/>
          <a:ext cx="2268750" cy="464123"/>
        </a:xfrm>
        <a:prstGeom prst="rect">
          <a:avLst/>
        </a:prstGeom>
        <a:solidFill>
          <a:srgbClr val="E4782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Turismo de Portugal</a:t>
          </a:r>
        </a:p>
      </dsp:txBody>
      <dsp:txXfrm>
        <a:off x="861817" y="4208324"/>
        <a:ext cx="2268750" cy="464123"/>
      </dsp:txXfrm>
    </dsp:sp>
    <dsp:sp modelId="{5BCC769B-2C7D-452F-A4A0-9BBB559273AD}">
      <dsp:nvSpPr>
        <dsp:cNvPr id="0" name=""/>
        <dsp:cNvSpPr/>
      </dsp:nvSpPr>
      <dsp:spPr>
        <a:xfrm>
          <a:off x="861817" y="4801792"/>
          <a:ext cx="2268750" cy="464123"/>
        </a:xfrm>
        <a:prstGeom prst="rect">
          <a:avLst/>
        </a:prstGeom>
        <a:solidFill>
          <a:srgbClr val="E4782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800" kern="1200" dirty="0" smtClean="0">
              <a:latin typeface="Arial" pitchFamily="34" charset="0"/>
              <a:cs typeface="Arial" pitchFamily="34" charset="0"/>
            </a:rPr>
            <a:t>AMA</a:t>
          </a:r>
        </a:p>
      </dsp:txBody>
      <dsp:txXfrm>
        <a:off x="861817" y="4801792"/>
        <a:ext cx="2268750" cy="46412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8AFB0C-43D1-EC4A-8054-651C134F31A1}">
      <dsp:nvSpPr>
        <dsp:cNvPr id="0" name=""/>
        <dsp:cNvSpPr/>
      </dsp:nvSpPr>
      <dsp:spPr>
        <a:xfrm>
          <a:off x="2226780" y="429446"/>
          <a:ext cx="4848918" cy="1432091"/>
        </a:xfrm>
        <a:prstGeom prst="roundRect">
          <a:avLst/>
        </a:prstGeom>
        <a:solidFill>
          <a:schemeClr val="bg1">
            <a:alpha val="9000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360000" lvl="1" indent="-228600" algn="l" defTabSz="889000">
            <a:lnSpc>
              <a:spcPts val="3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b="1" kern="1200" dirty="0" smtClean="0">
              <a:solidFill>
                <a:schemeClr val="tx1"/>
              </a:solidFill>
              <a:latin typeface="Arial"/>
              <a:cs typeface="Arial"/>
            </a:rPr>
            <a:t>SI I&amp;DT Projetos Individuais</a:t>
          </a:r>
          <a:endParaRPr lang="en-US" sz="2000" b="1" kern="1200" dirty="0">
            <a:solidFill>
              <a:schemeClr val="tx1"/>
            </a:solidFill>
            <a:latin typeface="Arial"/>
            <a:cs typeface="Arial"/>
          </a:endParaRPr>
        </a:p>
        <a:p>
          <a:pPr marL="360000" lvl="1" indent="-228600" algn="l" defTabSz="889000">
            <a:lnSpc>
              <a:spcPts val="3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b="1" kern="1200" dirty="0" smtClean="0">
              <a:solidFill>
                <a:schemeClr val="tx1"/>
              </a:solidFill>
              <a:latin typeface="Arial"/>
              <a:cs typeface="Arial"/>
            </a:rPr>
            <a:t>SI I&amp;DT Núcleos I&amp;D</a:t>
          </a:r>
          <a:endParaRPr lang="en-US" sz="2000" b="1" kern="1200" dirty="0">
            <a:solidFill>
              <a:schemeClr val="tx1"/>
            </a:solidFill>
            <a:latin typeface="Arial"/>
            <a:cs typeface="Arial"/>
          </a:endParaRPr>
        </a:p>
        <a:p>
          <a:pPr marL="360000" lvl="1" indent="-228600" algn="l" defTabSz="889000">
            <a:lnSpc>
              <a:spcPts val="3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b="1" kern="1200" dirty="0" smtClean="0">
              <a:solidFill>
                <a:schemeClr val="tx1"/>
              </a:solidFill>
              <a:latin typeface="Arial"/>
              <a:cs typeface="Arial"/>
            </a:rPr>
            <a:t>Vale Inovação/I&amp;DT</a:t>
          </a:r>
          <a:endParaRPr lang="en-US" sz="2000" b="1" kern="1200" dirty="0">
            <a:solidFill>
              <a:schemeClr val="tx1"/>
            </a:solidFill>
            <a:latin typeface="Arial"/>
            <a:cs typeface="Arial"/>
          </a:endParaRPr>
        </a:p>
      </dsp:txBody>
      <dsp:txXfrm>
        <a:off x="2296689" y="499355"/>
        <a:ext cx="4709100" cy="1292273"/>
      </dsp:txXfrm>
    </dsp:sp>
    <dsp:sp modelId="{A898D999-A8A0-4A44-87FB-4479EAD2AEE9}">
      <dsp:nvSpPr>
        <dsp:cNvPr id="0" name=""/>
        <dsp:cNvSpPr/>
      </dsp:nvSpPr>
      <dsp:spPr>
        <a:xfrm>
          <a:off x="106865" y="295157"/>
          <a:ext cx="1989157" cy="1700670"/>
        </a:xfrm>
        <a:prstGeom prst="roundRect">
          <a:avLst/>
        </a:prstGeom>
        <a:solidFill>
          <a:srgbClr val="388D2B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latin typeface="Arial"/>
              <a:cs typeface="Arial"/>
            </a:rPr>
            <a:t>I&amp;D Individual</a:t>
          </a:r>
          <a:endParaRPr lang="en-US" sz="2000" kern="1200" dirty="0">
            <a:latin typeface="Arial"/>
            <a:cs typeface="Arial"/>
          </a:endParaRPr>
        </a:p>
      </dsp:txBody>
      <dsp:txXfrm>
        <a:off x="189885" y="378177"/>
        <a:ext cx="1823117" cy="1534630"/>
      </dsp:txXfrm>
    </dsp:sp>
    <dsp:sp modelId="{678ECAC8-0087-D14B-8C01-830FE6B711E3}">
      <dsp:nvSpPr>
        <dsp:cNvPr id="0" name=""/>
        <dsp:cNvSpPr/>
      </dsp:nvSpPr>
      <dsp:spPr>
        <a:xfrm>
          <a:off x="2226766" y="2380315"/>
          <a:ext cx="4840132" cy="1542512"/>
        </a:xfrm>
        <a:prstGeom prst="roundRect">
          <a:avLst/>
        </a:prstGeom>
        <a:solidFill>
          <a:schemeClr val="bg1">
            <a:alpha val="9000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352800" lvl="1" indent="-228600" algn="l" defTabSz="8890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b="1" kern="1200" dirty="0" smtClean="0">
              <a:latin typeface="Arial"/>
              <a:cs typeface="Arial"/>
            </a:rPr>
            <a:t>SI I&amp;DT Projetos em Co-Promoção</a:t>
          </a:r>
          <a:endParaRPr lang="en-US" sz="2000" b="1" kern="1200" dirty="0">
            <a:latin typeface="Arial"/>
            <a:cs typeface="Arial"/>
          </a:endParaRPr>
        </a:p>
        <a:p>
          <a:pPr marL="352800" lvl="1" indent="-57150" algn="l" defTabSz="4445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000" b="1" kern="1200" dirty="0">
            <a:latin typeface="Arial"/>
            <a:cs typeface="Arial"/>
          </a:endParaRPr>
        </a:p>
        <a:p>
          <a:pPr marL="352800" lvl="1" indent="-228600" algn="l" defTabSz="8890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b="1" kern="1200" dirty="0" smtClean="0">
              <a:latin typeface="Arial"/>
              <a:cs typeface="Arial"/>
            </a:rPr>
            <a:t>SI I&amp;DT Projetos Mobilizadores</a:t>
          </a:r>
          <a:endParaRPr lang="en-US" sz="2000" b="1" kern="1200" dirty="0">
            <a:latin typeface="Arial"/>
            <a:cs typeface="Arial"/>
          </a:endParaRPr>
        </a:p>
      </dsp:txBody>
      <dsp:txXfrm>
        <a:off x="2302065" y="2455614"/>
        <a:ext cx="4689534" cy="1391914"/>
      </dsp:txXfrm>
    </dsp:sp>
    <dsp:sp modelId="{6AAC80AE-A69B-1F43-8746-F71D4120E1AA}">
      <dsp:nvSpPr>
        <dsp:cNvPr id="0" name=""/>
        <dsp:cNvSpPr/>
      </dsp:nvSpPr>
      <dsp:spPr>
        <a:xfrm>
          <a:off x="134304" y="2294845"/>
          <a:ext cx="1965500" cy="1702973"/>
        </a:xfrm>
        <a:prstGeom prst="roundRect">
          <a:avLst/>
        </a:prstGeom>
        <a:solidFill>
          <a:srgbClr val="388D2B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latin typeface="Arial"/>
              <a:cs typeface="Arial"/>
            </a:rPr>
            <a:t>I&amp;D em REDE</a:t>
          </a:r>
          <a:endParaRPr lang="en-US" sz="2000" kern="1200" dirty="0">
            <a:latin typeface="Arial"/>
            <a:cs typeface="Arial"/>
          </a:endParaRPr>
        </a:p>
      </dsp:txBody>
      <dsp:txXfrm>
        <a:off x="217436" y="2377977"/>
        <a:ext cx="1799236" cy="153670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9CC159-148E-45AE-9F42-C681953B6A48}">
      <dsp:nvSpPr>
        <dsp:cNvPr id="0" name=""/>
        <dsp:cNvSpPr/>
      </dsp:nvSpPr>
      <dsp:spPr>
        <a:xfrm>
          <a:off x="506536" y="0"/>
          <a:ext cx="5740752" cy="3349053"/>
        </a:xfrm>
        <a:prstGeom prst="rightArrow">
          <a:avLst/>
        </a:prstGeom>
        <a:solidFill>
          <a:schemeClr val="accent3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77DDDB6-040B-45BA-83F5-D21766C727EB}">
      <dsp:nvSpPr>
        <dsp:cNvPr id="0" name=""/>
        <dsp:cNvSpPr/>
      </dsp:nvSpPr>
      <dsp:spPr>
        <a:xfrm>
          <a:off x="3019" y="1012291"/>
          <a:ext cx="1566199" cy="1324470"/>
        </a:xfrm>
        <a:prstGeom prst="roundRect">
          <a:avLst/>
        </a:prstGeom>
        <a:solidFill>
          <a:srgbClr val="388D2B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700" kern="1200" dirty="0" smtClean="0">
              <a:latin typeface="Arial" pitchFamily="34" charset="0"/>
              <a:cs typeface="Arial" pitchFamily="34" charset="0"/>
            </a:rPr>
            <a:t>Processo</a:t>
          </a:r>
        </a:p>
        <a:p>
          <a:pPr lvl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700" kern="1200" dirty="0" smtClean="0">
              <a:latin typeface="Arial" pitchFamily="34" charset="0"/>
              <a:cs typeface="Arial" pitchFamily="34" charset="0"/>
            </a:rPr>
            <a:t>Contínuo</a:t>
          </a:r>
          <a:endParaRPr lang="pt-PT" sz="1700" kern="1200" dirty="0">
            <a:latin typeface="Arial" pitchFamily="34" charset="0"/>
            <a:cs typeface="Arial" pitchFamily="34" charset="0"/>
          </a:endParaRPr>
        </a:p>
      </dsp:txBody>
      <dsp:txXfrm>
        <a:off x="67674" y="1076946"/>
        <a:ext cx="1436889" cy="1195160"/>
      </dsp:txXfrm>
    </dsp:sp>
    <dsp:sp modelId="{174B62AF-9AE1-4505-9672-873851DC0FDF}">
      <dsp:nvSpPr>
        <dsp:cNvPr id="0" name=""/>
        <dsp:cNvSpPr/>
      </dsp:nvSpPr>
      <dsp:spPr>
        <a:xfrm>
          <a:off x="1703096" y="1012291"/>
          <a:ext cx="1566199" cy="1324470"/>
        </a:xfrm>
        <a:prstGeom prst="roundRect">
          <a:avLst/>
        </a:prstGeom>
        <a:solidFill>
          <a:srgbClr val="388D2B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700" kern="1200" dirty="0" smtClean="0">
              <a:latin typeface="Arial" pitchFamily="34" charset="0"/>
              <a:cs typeface="Arial" pitchFamily="34" charset="0"/>
            </a:rPr>
            <a:t>Critérios Simplificados</a:t>
          </a:r>
          <a:endParaRPr lang="pt-PT" sz="1700" kern="1200" dirty="0">
            <a:latin typeface="Arial" pitchFamily="34" charset="0"/>
            <a:cs typeface="Arial" pitchFamily="34" charset="0"/>
          </a:endParaRPr>
        </a:p>
      </dsp:txBody>
      <dsp:txXfrm>
        <a:off x="1767751" y="1076946"/>
        <a:ext cx="1436889" cy="1195160"/>
      </dsp:txXfrm>
    </dsp:sp>
    <dsp:sp modelId="{4B890A81-2B7A-1247-8B08-F42FF907DD00}">
      <dsp:nvSpPr>
        <dsp:cNvPr id="0" name=""/>
        <dsp:cNvSpPr/>
      </dsp:nvSpPr>
      <dsp:spPr>
        <a:xfrm>
          <a:off x="3403173" y="1004715"/>
          <a:ext cx="1647555" cy="1339621"/>
        </a:xfrm>
        <a:prstGeom prst="roundRect">
          <a:avLst/>
        </a:prstGeom>
        <a:solidFill>
          <a:srgbClr val="388D2B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700" kern="1200" dirty="0" smtClean="0">
              <a:latin typeface="Arial" pitchFamily="34" charset="0"/>
              <a:cs typeface="Arial" pitchFamily="34" charset="0"/>
            </a:rPr>
            <a:t>3 Medidas Abertas</a:t>
          </a:r>
          <a:endParaRPr lang="pt-PT" sz="1700" kern="1200" dirty="0">
            <a:latin typeface="Arial" pitchFamily="34" charset="0"/>
            <a:cs typeface="Arial" pitchFamily="34" charset="0"/>
          </a:endParaRPr>
        </a:p>
      </dsp:txBody>
      <dsp:txXfrm>
        <a:off x="3468568" y="1070110"/>
        <a:ext cx="1516765" cy="1208831"/>
      </dsp:txXfrm>
    </dsp:sp>
    <dsp:sp modelId="{3FA9821F-789C-4779-8052-FC7FEB0AECED}">
      <dsp:nvSpPr>
        <dsp:cNvPr id="0" name=""/>
        <dsp:cNvSpPr/>
      </dsp:nvSpPr>
      <dsp:spPr>
        <a:xfrm>
          <a:off x="5184607" y="1012291"/>
          <a:ext cx="1566199" cy="1324470"/>
        </a:xfrm>
        <a:prstGeom prst="roundRect">
          <a:avLst/>
        </a:prstGeom>
        <a:solidFill>
          <a:schemeClr val="accent6">
            <a:lumMod val="5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700" kern="1200" dirty="0" smtClean="0">
              <a:latin typeface="Arial" pitchFamily="34" charset="0"/>
              <a:cs typeface="Arial" pitchFamily="34" charset="0"/>
            </a:rPr>
            <a:t>+ 33 Milhões</a:t>
          </a:r>
          <a:endParaRPr lang="pt-PT" sz="1700" kern="1200" dirty="0">
            <a:latin typeface="Arial" pitchFamily="34" charset="0"/>
            <a:cs typeface="Arial" pitchFamily="34" charset="0"/>
          </a:endParaRPr>
        </a:p>
      </dsp:txBody>
      <dsp:txXfrm>
        <a:off x="5249262" y="1076946"/>
        <a:ext cx="1436889" cy="11951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2C2BD1-9304-4ACA-B2D0-DCC18C58D3C0}">
      <dsp:nvSpPr>
        <dsp:cNvPr id="0" name=""/>
        <dsp:cNvSpPr/>
      </dsp:nvSpPr>
      <dsp:spPr>
        <a:xfrm>
          <a:off x="1829" y="0"/>
          <a:ext cx="1918078" cy="3946525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kern="1200" dirty="0" smtClean="0">
              <a:latin typeface="Arial" pitchFamily="34" charset="0"/>
              <a:cs typeface="Arial" pitchFamily="34" charset="0"/>
            </a:rPr>
            <a:t>PRODUÇÃO DE NOVOS BENS E SERVIÇOS</a:t>
          </a:r>
          <a:endParaRPr lang="pt-PT" sz="1400" kern="1200" dirty="0">
            <a:latin typeface="Arial" pitchFamily="34" charset="0"/>
            <a:cs typeface="Arial" pitchFamily="34" charset="0"/>
          </a:endParaRPr>
        </a:p>
      </dsp:txBody>
      <dsp:txXfrm>
        <a:off x="1829" y="1578610"/>
        <a:ext cx="1918078" cy="1578610"/>
      </dsp:txXfrm>
    </dsp:sp>
    <dsp:sp modelId="{D55FA1EE-4608-4C24-84EA-9E0C1457FDA3}">
      <dsp:nvSpPr>
        <dsp:cNvPr id="0" name=""/>
        <dsp:cNvSpPr/>
      </dsp:nvSpPr>
      <dsp:spPr>
        <a:xfrm>
          <a:off x="303772" y="236791"/>
          <a:ext cx="1314192" cy="1314192"/>
        </a:xfrm>
        <a:prstGeom prst="ellipse">
          <a:avLst/>
        </a:prstGeom>
        <a:blipFill>
          <a:blip xmlns:r="http://schemas.openxmlformats.org/officeDocument/2006/relationships" r:embed="rId1">
            <a:duotone>
              <a:schemeClr val="accent2">
                <a:alpha val="90000"/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accent2">
                <a:alpha val="90000"/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  <a:extLst/>
          </a:blip>
          <a:srcRect/>
          <a:stretch>
            <a:fillRect l="-16000" r="-16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DA6644-D471-4A1E-B172-12302DA00C2A}">
      <dsp:nvSpPr>
        <dsp:cNvPr id="0" name=""/>
        <dsp:cNvSpPr/>
      </dsp:nvSpPr>
      <dsp:spPr>
        <a:xfrm>
          <a:off x="1977450" y="0"/>
          <a:ext cx="1918078" cy="3946525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hueOff val="0"/>
            <a:satOff val="0"/>
            <a:lumOff val="0"/>
            <a:alphaOff val="-13333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kern="1200" dirty="0" smtClean="0">
              <a:latin typeface="Arial" pitchFamily="34" charset="0"/>
              <a:cs typeface="Arial" pitchFamily="34" charset="0"/>
            </a:rPr>
            <a:t>NOVOS PROCESSOS DE FABRICO</a:t>
          </a:r>
          <a:endParaRPr lang="pt-PT" sz="1400" kern="1200" dirty="0">
            <a:latin typeface="Arial" pitchFamily="34" charset="0"/>
            <a:cs typeface="Arial" pitchFamily="34" charset="0"/>
          </a:endParaRPr>
        </a:p>
      </dsp:txBody>
      <dsp:txXfrm>
        <a:off x="1977450" y="1578610"/>
        <a:ext cx="1918078" cy="1578610"/>
      </dsp:txXfrm>
    </dsp:sp>
    <dsp:sp modelId="{E963BC70-0EB3-4BD8-BF23-AFF325DC6EC3}">
      <dsp:nvSpPr>
        <dsp:cNvPr id="0" name=""/>
        <dsp:cNvSpPr/>
      </dsp:nvSpPr>
      <dsp:spPr>
        <a:xfrm>
          <a:off x="2279393" y="236791"/>
          <a:ext cx="1314192" cy="1314192"/>
        </a:xfrm>
        <a:prstGeom prst="ellipse">
          <a:avLst/>
        </a:prstGeom>
        <a:blipFill>
          <a:blip xmlns:r="http://schemas.openxmlformats.org/officeDocument/2006/relationships" r:embed="rId2">
            <a:duotone>
              <a:schemeClr val="accent2">
                <a:alpha val="90000"/>
                <a:hueOff val="-1270"/>
                <a:satOff val="-910"/>
                <a:lumOff val="3730"/>
                <a:alphaOff val="-13333"/>
                <a:shade val="20000"/>
                <a:satMod val="200000"/>
              </a:schemeClr>
              <a:schemeClr val="accent2">
                <a:alpha val="90000"/>
                <a:hueOff val="-1270"/>
                <a:satOff val="-910"/>
                <a:lumOff val="3730"/>
                <a:alphaOff val="-13333"/>
                <a:tint val="12000"/>
                <a:satMod val="190000"/>
              </a:schemeClr>
            </a:duotone>
            <a:extLst/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1CCD62-3B7D-483A-9D4A-52234BFBDB6C}">
      <dsp:nvSpPr>
        <dsp:cNvPr id="0" name=""/>
        <dsp:cNvSpPr/>
      </dsp:nvSpPr>
      <dsp:spPr>
        <a:xfrm>
          <a:off x="3953071" y="0"/>
          <a:ext cx="1918078" cy="3946525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hueOff val="0"/>
            <a:satOff val="0"/>
            <a:lumOff val="0"/>
            <a:alphaOff val="-26667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kern="1200" dirty="0" smtClean="0">
              <a:latin typeface="Arial" pitchFamily="34" charset="0"/>
              <a:cs typeface="Arial" pitchFamily="34" charset="0"/>
            </a:rPr>
            <a:t>NOVOS MÉTODOS DE LOGÍSTICA E DISTRIBUIÇÃO</a:t>
          </a:r>
          <a:endParaRPr lang="pt-PT" sz="1400" kern="1200" dirty="0">
            <a:latin typeface="Arial" pitchFamily="34" charset="0"/>
            <a:cs typeface="Arial" pitchFamily="34" charset="0"/>
          </a:endParaRPr>
        </a:p>
      </dsp:txBody>
      <dsp:txXfrm>
        <a:off x="3953071" y="1578610"/>
        <a:ext cx="1918078" cy="1578610"/>
      </dsp:txXfrm>
    </dsp:sp>
    <dsp:sp modelId="{71330095-0516-42B6-951F-E7A8C6259666}">
      <dsp:nvSpPr>
        <dsp:cNvPr id="0" name=""/>
        <dsp:cNvSpPr/>
      </dsp:nvSpPr>
      <dsp:spPr>
        <a:xfrm>
          <a:off x="4255013" y="236791"/>
          <a:ext cx="1314192" cy="1314192"/>
        </a:xfrm>
        <a:prstGeom prst="ellipse">
          <a:avLst/>
        </a:prstGeom>
        <a:blipFill>
          <a:blip xmlns:r="http://schemas.openxmlformats.org/officeDocument/2006/relationships" r:embed="rId3">
            <a:duotone>
              <a:schemeClr val="accent2">
                <a:alpha val="90000"/>
                <a:hueOff val="-2539"/>
                <a:satOff val="-1819"/>
                <a:lumOff val="7461"/>
                <a:alphaOff val="-26667"/>
                <a:shade val="20000"/>
                <a:satMod val="200000"/>
              </a:schemeClr>
              <a:schemeClr val="accent2">
                <a:alpha val="90000"/>
                <a:hueOff val="-2539"/>
                <a:satOff val="-1819"/>
                <a:lumOff val="7461"/>
                <a:alphaOff val="-26667"/>
                <a:tint val="12000"/>
                <a:satMod val="190000"/>
              </a:schemeClr>
            </a:duotone>
            <a:extLst/>
          </a:blip>
          <a:srcRect/>
          <a:stretch>
            <a:fillRect l="-16000" r="-16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550F31-15FD-4EF1-801B-CAB0A5AC2664}">
      <dsp:nvSpPr>
        <dsp:cNvPr id="0" name=""/>
        <dsp:cNvSpPr/>
      </dsp:nvSpPr>
      <dsp:spPr>
        <a:xfrm>
          <a:off x="5928691" y="0"/>
          <a:ext cx="1918078" cy="3946525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kern="1200" dirty="0" smtClean="0">
              <a:latin typeface="Arial" pitchFamily="34" charset="0"/>
              <a:cs typeface="Arial" pitchFamily="34" charset="0"/>
            </a:rPr>
            <a:t>NOVOS MÉTODOS ORGANIZACIONAIS OU </a:t>
          </a: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400" kern="1200" dirty="0" smtClean="0">
              <a:latin typeface="Arial" pitchFamily="34" charset="0"/>
              <a:cs typeface="Arial" pitchFamily="34" charset="0"/>
            </a:rPr>
            <a:t>DE MARKETING</a:t>
          </a:r>
          <a:endParaRPr lang="pt-PT" sz="1400" kern="1200" dirty="0">
            <a:latin typeface="Arial" pitchFamily="34" charset="0"/>
            <a:cs typeface="Arial" pitchFamily="34" charset="0"/>
          </a:endParaRPr>
        </a:p>
      </dsp:txBody>
      <dsp:txXfrm>
        <a:off x="5928691" y="1578610"/>
        <a:ext cx="1918078" cy="1578610"/>
      </dsp:txXfrm>
    </dsp:sp>
    <dsp:sp modelId="{9D0906AE-E385-46E8-9D8B-C496173756A0}">
      <dsp:nvSpPr>
        <dsp:cNvPr id="0" name=""/>
        <dsp:cNvSpPr/>
      </dsp:nvSpPr>
      <dsp:spPr>
        <a:xfrm>
          <a:off x="6230634" y="236791"/>
          <a:ext cx="1314192" cy="1314192"/>
        </a:xfrm>
        <a:prstGeom prst="ellipse">
          <a:avLst/>
        </a:prstGeom>
        <a:blipFill>
          <a:blip xmlns:r="http://schemas.openxmlformats.org/officeDocument/2006/relationships" r:embed="rId4">
            <a:duotone>
              <a:schemeClr val="accent2">
                <a:alpha val="90000"/>
                <a:hueOff val="-3809"/>
                <a:satOff val="-2729"/>
                <a:lumOff val="11191"/>
                <a:alphaOff val="-40000"/>
                <a:shade val="20000"/>
                <a:satMod val="200000"/>
              </a:schemeClr>
              <a:schemeClr val="accent2">
                <a:alpha val="90000"/>
                <a:hueOff val="-3809"/>
                <a:satOff val="-2729"/>
                <a:lumOff val="11191"/>
                <a:alphaOff val="-40000"/>
                <a:tint val="12000"/>
                <a:satMod val="190000"/>
              </a:schemeClr>
            </a:duotone>
            <a:extLst/>
          </a:blip>
          <a:srcRect/>
          <a:stretch>
            <a:fillRect l="-8000" r="-8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BFD760-CE4F-4082-B876-9F566CE709C2}">
      <dsp:nvSpPr>
        <dsp:cNvPr id="0" name=""/>
        <dsp:cNvSpPr/>
      </dsp:nvSpPr>
      <dsp:spPr>
        <a:xfrm>
          <a:off x="313943" y="3157220"/>
          <a:ext cx="7220712" cy="591978"/>
        </a:xfrm>
        <a:prstGeom prst="left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9CC159-148E-45AE-9F42-C681953B6A48}">
      <dsp:nvSpPr>
        <dsp:cNvPr id="0" name=""/>
        <dsp:cNvSpPr/>
      </dsp:nvSpPr>
      <dsp:spPr>
        <a:xfrm>
          <a:off x="588644" y="0"/>
          <a:ext cx="6671310" cy="3946525"/>
        </a:xfrm>
        <a:prstGeom prst="righ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7DDDB6-040B-45BA-83F5-D21766C727EB}">
      <dsp:nvSpPr>
        <dsp:cNvPr id="0" name=""/>
        <dsp:cNvSpPr/>
      </dsp:nvSpPr>
      <dsp:spPr>
        <a:xfrm>
          <a:off x="3928" y="1183957"/>
          <a:ext cx="1889335" cy="1578610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kern="1200" dirty="0" smtClean="0">
              <a:latin typeface="Arial" pitchFamily="34" charset="0"/>
              <a:cs typeface="Arial" pitchFamily="34" charset="0"/>
            </a:rPr>
            <a:t>NATUREZA INOVADORA DOS PROJETOS </a:t>
          </a:r>
          <a:endParaRPr lang="pt-PT" sz="1600" kern="1200" dirty="0">
            <a:latin typeface="Arial" pitchFamily="34" charset="0"/>
            <a:cs typeface="Arial" pitchFamily="34" charset="0"/>
          </a:endParaRPr>
        </a:p>
      </dsp:txBody>
      <dsp:txXfrm>
        <a:off x="80989" y="1261018"/>
        <a:ext cx="1735213" cy="1424488"/>
      </dsp:txXfrm>
    </dsp:sp>
    <dsp:sp modelId="{174B62AF-9AE1-4505-9672-873851DC0FDF}">
      <dsp:nvSpPr>
        <dsp:cNvPr id="0" name=""/>
        <dsp:cNvSpPr/>
      </dsp:nvSpPr>
      <dsp:spPr>
        <a:xfrm>
          <a:off x="1987730" y="1183957"/>
          <a:ext cx="1889335" cy="1578610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-13333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kern="1200" dirty="0" smtClean="0">
              <a:latin typeface="Arial" pitchFamily="34" charset="0"/>
              <a:cs typeface="Arial" pitchFamily="34" charset="0"/>
            </a:rPr>
            <a:t>FORTE COMPONENTE EXPORTADORA</a:t>
          </a:r>
          <a:endParaRPr lang="pt-PT" sz="1600" kern="1200" dirty="0">
            <a:latin typeface="Arial" pitchFamily="34" charset="0"/>
            <a:cs typeface="Arial" pitchFamily="34" charset="0"/>
          </a:endParaRPr>
        </a:p>
      </dsp:txBody>
      <dsp:txXfrm>
        <a:off x="2064791" y="1261018"/>
        <a:ext cx="1735213" cy="1424488"/>
      </dsp:txXfrm>
    </dsp:sp>
    <dsp:sp modelId="{3FA9821F-789C-4779-8052-FC7FEB0AECED}">
      <dsp:nvSpPr>
        <dsp:cNvPr id="0" name=""/>
        <dsp:cNvSpPr/>
      </dsp:nvSpPr>
      <dsp:spPr>
        <a:xfrm>
          <a:off x="3971533" y="1183957"/>
          <a:ext cx="1889335" cy="1578610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-26667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kern="1200" dirty="0" smtClean="0">
              <a:latin typeface="Arial" pitchFamily="34" charset="0"/>
              <a:cs typeface="Arial" pitchFamily="34" charset="0"/>
            </a:rPr>
            <a:t>VALOR GERADO PELA EMPRESA</a:t>
          </a:r>
          <a:endParaRPr lang="pt-PT" sz="1600" kern="1200" dirty="0">
            <a:latin typeface="Arial" pitchFamily="34" charset="0"/>
            <a:cs typeface="Arial" pitchFamily="34" charset="0"/>
          </a:endParaRPr>
        </a:p>
      </dsp:txBody>
      <dsp:txXfrm>
        <a:off x="4048594" y="1261018"/>
        <a:ext cx="1735213" cy="1424488"/>
      </dsp:txXfrm>
    </dsp:sp>
    <dsp:sp modelId="{387B1252-047D-46FA-9207-CB5BA7D2B203}">
      <dsp:nvSpPr>
        <dsp:cNvPr id="0" name=""/>
        <dsp:cNvSpPr/>
      </dsp:nvSpPr>
      <dsp:spPr>
        <a:xfrm>
          <a:off x="5955336" y="1183957"/>
          <a:ext cx="1889335" cy="1578610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600" kern="1200" dirty="0" smtClean="0">
              <a:latin typeface="Arial" pitchFamily="34" charset="0"/>
              <a:cs typeface="Arial" pitchFamily="34" charset="0"/>
            </a:rPr>
            <a:t>CRIAÇÃO DE EMPREGO </a:t>
          </a:r>
          <a:endParaRPr lang="pt-PT" sz="1600" kern="1200" dirty="0">
            <a:latin typeface="Arial" pitchFamily="34" charset="0"/>
            <a:cs typeface="Arial" pitchFamily="34" charset="0"/>
          </a:endParaRPr>
        </a:p>
      </dsp:txBody>
      <dsp:txXfrm>
        <a:off x="6032397" y="1261018"/>
        <a:ext cx="1735213" cy="142448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61C7898-36E7-4DE3-908B-921BF7DCF4A5}">
      <dsp:nvSpPr>
        <dsp:cNvPr id="0" name=""/>
        <dsp:cNvSpPr/>
      </dsp:nvSpPr>
      <dsp:spPr>
        <a:xfrm rot="16200000">
          <a:off x="975518" y="-975518"/>
          <a:ext cx="1973262" cy="3924300"/>
        </a:xfrm>
        <a:prstGeom prst="round1Rect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INCENTIVO 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REEMBOLSÁVEL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 rot="5400000">
        <a:off x="-1" y="1"/>
        <a:ext cx="3924300" cy="1479946"/>
      </dsp:txXfrm>
    </dsp:sp>
    <dsp:sp modelId="{0BFAE840-E7A1-4A8D-AC75-E292CFA23C10}">
      <dsp:nvSpPr>
        <dsp:cNvPr id="0" name=""/>
        <dsp:cNvSpPr/>
      </dsp:nvSpPr>
      <dsp:spPr>
        <a:xfrm>
          <a:off x="3924300" y="0"/>
          <a:ext cx="3924300" cy="1973262"/>
        </a:xfrm>
        <a:prstGeom prst="round1Rect">
          <a:avLst/>
        </a:prstGeom>
        <a:solidFill>
          <a:schemeClr val="accent2">
            <a:alpha val="90000"/>
            <a:hueOff val="0"/>
            <a:satOff val="0"/>
            <a:lumOff val="0"/>
            <a:alphaOff val="-13333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SEM PAGAMENTO 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DE JUROS 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3924300" y="0"/>
        <a:ext cx="3924300" cy="1479946"/>
      </dsp:txXfrm>
    </dsp:sp>
    <dsp:sp modelId="{72B21C92-978D-44A5-B206-FC3270E52C4F}">
      <dsp:nvSpPr>
        <dsp:cNvPr id="0" name=""/>
        <dsp:cNvSpPr/>
      </dsp:nvSpPr>
      <dsp:spPr>
        <a:xfrm rot="10800000">
          <a:off x="0" y="1973262"/>
          <a:ext cx="3924300" cy="1973262"/>
        </a:xfrm>
        <a:prstGeom prst="round1Rect">
          <a:avLst/>
        </a:prstGeom>
        <a:solidFill>
          <a:schemeClr val="accent2">
            <a:alpha val="90000"/>
            <a:hueOff val="0"/>
            <a:satOff val="0"/>
            <a:lumOff val="0"/>
            <a:alphaOff val="-26667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PRAZO DE FINANCIAMENTO DE 6 A 10 ANOS 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3 ANOS DE CARÊNCIA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 rot="10800000">
        <a:off x="0" y="2466578"/>
        <a:ext cx="3924300" cy="1479946"/>
      </dsp:txXfrm>
    </dsp:sp>
    <dsp:sp modelId="{9892223C-9A4D-4474-BC8D-2BCF75B60B09}">
      <dsp:nvSpPr>
        <dsp:cNvPr id="0" name=""/>
        <dsp:cNvSpPr/>
      </dsp:nvSpPr>
      <dsp:spPr>
        <a:xfrm rot="5400000">
          <a:off x="4899818" y="997743"/>
          <a:ext cx="1973262" cy="3924300"/>
        </a:xfrm>
        <a:prstGeom prst="round1Rect">
          <a:avLst/>
        </a:prstGeom>
        <a:solidFill>
          <a:schemeClr val="accent2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AMORTIZAÇÕES EM PRESTAÇÕES SEMESTRAIS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 rot="-5400000">
        <a:off x="3924299" y="2466578"/>
        <a:ext cx="3924300" cy="1479946"/>
      </dsp:txXfrm>
    </dsp:sp>
    <dsp:sp modelId="{1BCE8575-11B6-41CE-A619-2D330F309A23}">
      <dsp:nvSpPr>
        <dsp:cNvPr id="0" name=""/>
        <dsp:cNvSpPr/>
      </dsp:nvSpPr>
      <dsp:spPr>
        <a:xfrm>
          <a:off x="2747010" y="1479946"/>
          <a:ext cx="2354580" cy="986631"/>
        </a:xfrm>
        <a:prstGeom prst="roundRect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b="1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TAXA MÁXIMA DE 75%</a:t>
          </a:r>
          <a:endParaRPr lang="pt-PT" sz="2000" b="1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2795173" y="1528109"/>
        <a:ext cx="2258254" cy="89030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D3C92E-355F-4C28-A1C3-E6C5EE0346B7}">
      <dsp:nvSpPr>
        <dsp:cNvPr id="0" name=""/>
        <dsp:cNvSpPr/>
      </dsp:nvSpPr>
      <dsp:spPr>
        <a:xfrm>
          <a:off x="945330" y="1281"/>
          <a:ext cx="1474772" cy="1474772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200" kern="1200" dirty="0" smtClean="0">
              <a:latin typeface="Arial" pitchFamily="34" charset="0"/>
              <a:cs typeface="Arial" pitchFamily="34" charset="0"/>
            </a:rPr>
            <a:t>AVALIAÇÃO DOS RESULTADOS</a:t>
          </a:r>
          <a:endParaRPr lang="pt-PT" sz="1200" kern="1200" dirty="0">
            <a:latin typeface="Arial" pitchFamily="34" charset="0"/>
            <a:cs typeface="Arial" pitchFamily="34" charset="0"/>
          </a:endParaRPr>
        </a:p>
      </dsp:txBody>
      <dsp:txXfrm>
        <a:off x="1161305" y="217256"/>
        <a:ext cx="1042822" cy="1042822"/>
      </dsp:txXfrm>
    </dsp:sp>
    <dsp:sp modelId="{6A77CBB1-5873-4FA3-997B-BC75F8FA16F4}">
      <dsp:nvSpPr>
        <dsp:cNvPr id="0" name=""/>
        <dsp:cNvSpPr/>
      </dsp:nvSpPr>
      <dsp:spPr>
        <a:xfrm>
          <a:off x="1255033" y="1595805"/>
          <a:ext cx="855367" cy="855367"/>
        </a:xfrm>
        <a:prstGeom prst="mathPlus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1000" kern="1200"/>
        </a:p>
      </dsp:txBody>
      <dsp:txXfrm>
        <a:off x="1368412" y="1922897"/>
        <a:ext cx="628609" cy="201183"/>
      </dsp:txXfrm>
    </dsp:sp>
    <dsp:sp modelId="{B2F04208-EC42-4AF1-BA83-2BE405580B11}">
      <dsp:nvSpPr>
        <dsp:cNvPr id="0" name=""/>
        <dsp:cNvSpPr/>
      </dsp:nvSpPr>
      <dsp:spPr>
        <a:xfrm>
          <a:off x="945330" y="2570924"/>
          <a:ext cx="1474772" cy="1474772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200" kern="1200" dirty="0" smtClean="0">
              <a:latin typeface="Arial" pitchFamily="34" charset="0"/>
              <a:cs typeface="Arial" pitchFamily="34" charset="0"/>
            </a:rPr>
            <a:t>CONVERSÃO DO IR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1200" kern="1200" dirty="0" smtClean="0">
              <a:latin typeface="Arial" pitchFamily="34" charset="0"/>
              <a:cs typeface="Arial" pitchFamily="34" charset="0"/>
            </a:rPr>
            <a:t>EM CAPITAL PRÓPRIO</a:t>
          </a:r>
          <a:endParaRPr lang="pt-PT" sz="1200" kern="1200" dirty="0">
            <a:latin typeface="Arial" pitchFamily="34" charset="0"/>
            <a:cs typeface="Arial" pitchFamily="34" charset="0"/>
          </a:endParaRPr>
        </a:p>
      </dsp:txBody>
      <dsp:txXfrm>
        <a:off x="1161305" y="2786899"/>
        <a:ext cx="1042822" cy="1042822"/>
      </dsp:txXfrm>
    </dsp:sp>
    <dsp:sp modelId="{B0338E6C-6FB1-4967-A9F3-C27C36464466}">
      <dsp:nvSpPr>
        <dsp:cNvPr id="0" name=""/>
        <dsp:cNvSpPr/>
      </dsp:nvSpPr>
      <dsp:spPr>
        <a:xfrm rot="41905">
          <a:off x="2648590" y="1763909"/>
          <a:ext cx="484468" cy="548615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1000" kern="1200"/>
        </a:p>
      </dsp:txBody>
      <dsp:txXfrm>
        <a:off x="2648595" y="1872746"/>
        <a:ext cx="339128" cy="329169"/>
      </dsp:txXfrm>
    </dsp:sp>
    <dsp:sp modelId="{EC4E93DF-0F2B-4F48-80DE-208BDE9A326E}">
      <dsp:nvSpPr>
        <dsp:cNvPr id="0" name=""/>
        <dsp:cNvSpPr/>
      </dsp:nvSpPr>
      <dsp:spPr>
        <a:xfrm>
          <a:off x="3334016" y="586825"/>
          <a:ext cx="2949544" cy="2949544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CAPITALIZAÇÃO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EMPRESAS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3765967" y="1018776"/>
        <a:ext cx="2085642" cy="208564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2BE298-2A0A-41F9-A186-21E62997848D}">
      <dsp:nvSpPr>
        <dsp:cNvPr id="0" name=""/>
        <dsp:cNvSpPr/>
      </dsp:nvSpPr>
      <dsp:spPr>
        <a:xfrm>
          <a:off x="951717" y="1973262"/>
          <a:ext cx="490934" cy="14032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45467" y="0"/>
              </a:lnTo>
              <a:lnTo>
                <a:pt x="245467" y="1403204"/>
              </a:lnTo>
              <a:lnTo>
                <a:pt x="490934" y="1403204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500" kern="1200"/>
        </a:p>
      </dsp:txBody>
      <dsp:txXfrm>
        <a:off x="1160020" y="2637699"/>
        <a:ext cx="74330" cy="74330"/>
      </dsp:txXfrm>
    </dsp:sp>
    <dsp:sp modelId="{42A5FF64-0624-4F2A-B3CA-05B9C6BA72FC}">
      <dsp:nvSpPr>
        <dsp:cNvPr id="0" name=""/>
        <dsp:cNvSpPr/>
      </dsp:nvSpPr>
      <dsp:spPr>
        <a:xfrm>
          <a:off x="951717" y="1973262"/>
          <a:ext cx="490934" cy="4677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45467" y="0"/>
              </a:lnTo>
              <a:lnTo>
                <a:pt x="245467" y="467734"/>
              </a:lnTo>
              <a:lnTo>
                <a:pt x="490934" y="467734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500" kern="1200"/>
        </a:p>
      </dsp:txBody>
      <dsp:txXfrm>
        <a:off x="1180233" y="2190177"/>
        <a:ext cx="33904" cy="33904"/>
      </dsp:txXfrm>
    </dsp:sp>
    <dsp:sp modelId="{D6C059D2-C904-4861-9416-7818032D44BD}">
      <dsp:nvSpPr>
        <dsp:cNvPr id="0" name=""/>
        <dsp:cNvSpPr/>
      </dsp:nvSpPr>
      <dsp:spPr>
        <a:xfrm>
          <a:off x="951717" y="1505527"/>
          <a:ext cx="490934" cy="467734"/>
        </a:xfrm>
        <a:custGeom>
          <a:avLst/>
          <a:gdLst/>
          <a:ahLst/>
          <a:cxnLst/>
          <a:rect l="0" t="0" r="0" b="0"/>
          <a:pathLst>
            <a:path>
              <a:moveTo>
                <a:pt x="0" y="467734"/>
              </a:moveTo>
              <a:lnTo>
                <a:pt x="245467" y="467734"/>
              </a:lnTo>
              <a:lnTo>
                <a:pt x="245467" y="0"/>
              </a:lnTo>
              <a:lnTo>
                <a:pt x="490934" y="0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500" kern="1200"/>
        </a:p>
      </dsp:txBody>
      <dsp:txXfrm>
        <a:off x="1180233" y="1722443"/>
        <a:ext cx="33904" cy="33904"/>
      </dsp:txXfrm>
    </dsp:sp>
    <dsp:sp modelId="{6B5544B4-CAC1-4035-815C-128B4EECBDA9}">
      <dsp:nvSpPr>
        <dsp:cNvPr id="0" name=""/>
        <dsp:cNvSpPr/>
      </dsp:nvSpPr>
      <dsp:spPr>
        <a:xfrm>
          <a:off x="951717" y="570057"/>
          <a:ext cx="490934" cy="1403204"/>
        </a:xfrm>
        <a:custGeom>
          <a:avLst/>
          <a:gdLst/>
          <a:ahLst/>
          <a:cxnLst/>
          <a:rect l="0" t="0" r="0" b="0"/>
          <a:pathLst>
            <a:path>
              <a:moveTo>
                <a:pt x="0" y="1403204"/>
              </a:moveTo>
              <a:lnTo>
                <a:pt x="245467" y="1403204"/>
              </a:lnTo>
              <a:lnTo>
                <a:pt x="245467" y="0"/>
              </a:lnTo>
              <a:lnTo>
                <a:pt x="490934" y="0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PT" sz="500" kern="1200"/>
        </a:p>
      </dsp:txBody>
      <dsp:txXfrm>
        <a:off x="1160020" y="1234494"/>
        <a:ext cx="74330" cy="74330"/>
      </dsp:txXfrm>
    </dsp:sp>
    <dsp:sp modelId="{16B10253-94DD-4EE1-907A-74D8C494CD43}">
      <dsp:nvSpPr>
        <dsp:cNvPr id="0" name=""/>
        <dsp:cNvSpPr/>
      </dsp:nvSpPr>
      <dsp:spPr>
        <a:xfrm rot="16200000">
          <a:off x="-1391880" y="1599074"/>
          <a:ext cx="3938820" cy="748375"/>
        </a:xfrm>
        <a:prstGeom prst="rect">
          <a:avLst/>
        </a:prstGeom>
        <a:solidFill>
          <a:schemeClr val="accent2">
            <a:alpha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b="1" kern="1200" dirty="0" smtClean="0">
              <a:solidFill>
                <a:schemeClr val="bg1"/>
              </a:solidFill>
              <a:latin typeface="Arial" charset="0"/>
              <a:ea typeface="Geneva" charset="0"/>
              <a:cs typeface="Arial" charset="0"/>
            </a:rPr>
            <a:t>RESULTADOS</a:t>
          </a:r>
          <a:endParaRPr lang="pt-PT" sz="2000" b="1" kern="1200" dirty="0">
            <a:solidFill>
              <a:schemeClr val="bg1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-1391880" y="1599074"/>
        <a:ext cx="3938820" cy="748375"/>
      </dsp:txXfrm>
    </dsp:sp>
    <dsp:sp modelId="{0F223507-4537-40D8-A315-6691476C84E5}">
      <dsp:nvSpPr>
        <dsp:cNvPr id="0" name=""/>
        <dsp:cNvSpPr/>
      </dsp:nvSpPr>
      <dsp:spPr>
        <a:xfrm>
          <a:off x="1442652" y="195869"/>
          <a:ext cx="6050204" cy="748375"/>
        </a:xfrm>
        <a:prstGeom prst="rect">
          <a:avLst/>
        </a:prstGeom>
        <a:solidFill>
          <a:schemeClr val="accent2">
            <a:alpha val="7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1.454 CANDIDATURAS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1442652" y="195869"/>
        <a:ext cx="6050204" cy="748375"/>
      </dsp:txXfrm>
    </dsp:sp>
    <dsp:sp modelId="{ED04CF3D-EA3A-4DDE-A4E5-A61497ECF63A}">
      <dsp:nvSpPr>
        <dsp:cNvPr id="0" name=""/>
        <dsp:cNvSpPr/>
      </dsp:nvSpPr>
      <dsp:spPr>
        <a:xfrm>
          <a:off x="1442652" y="1131339"/>
          <a:ext cx="6028505" cy="748375"/>
        </a:xfrm>
        <a:prstGeom prst="rect">
          <a:avLst/>
        </a:prstGeom>
        <a:solidFill>
          <a:schemeClr val="accent2">
            <a:alpha val="7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603 CANDIDATURAS SELECIONADAS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1442652" y="1131339"/>
        <a:ext cx="6028505" cy="748375"/>
      </dsp:txXfrm>
    </dsp:sp>
    <dsp:sp modelId="{4C0F7543-35A9-488B-8B66-9ED42A42DE9D}">
      <dsp:nvSpPr>
        <dsp:cNvPr id="0" name=""/>
        <dsp:cNvSpPr/>
      </dsp:nvSpPr>
      <dsp:spPr>
        <a:xfrm>
          <a:off x="1442652" y="2066809"/>
          <a:ext cx="6028505" cy="748375"/>
        </a:xfrm>
        <a:prstGeom prst="rect">
          <a:avLst/>
        </a:prstGeom>
        <a:solidFill>
          <a:schemeClr val="accent2">
            <a:alpha val="7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INVESTIMENTO ELEGÍVEL </a:t>
          </a:r>
          <a:r>
            <a:rPr lang="pt-PT" kern="1200" dirty="0" smtClean="0">
              <a:latin typeface="Arial" pitchFamily="34" charset="0"/>
              <a:cs typeface="Arial" pitchFamily="34" charset="0"/>
            </a:rPr>
            <a:t>4.040 M€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1442652" y="2066809"/>
        <a:ext cx="6028505" cy="748375"/>
      </dsp:txXfrm>
    </dsp:sp>
    <dsp:sp modelId="{50BF7A64-F45F-4EAC-A6AE-FC179AC6FF4A}">
      <dsp:nvSpPr>
        <dsp:cNvPr id="0" name=""/>
        <dsp:cNvSpPr/>
      </dsp:nvSpPr>
      <dsp:spPr>
        <a:xfrm>
          <a:off x="1442652" y="3002279"/>
          <a:ext cx="6028505" cy="748375"/>
        </a:xfrm>
        <a:prstGeom prst="rect">
          <a:avLst/>
        </a:prstGeom>
        <a:solidFill>
          <a:schemeClr val="accent2">
            <a:alpha val="7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INCENTIVO </a:t>
          </a:r>
          <a:r>
            <a:rPr lang="pt-PT" kern="1200" dirty="0" smtClean="0">
              <a:latin typeface="Arial" pitchFamily="34" charset="0"/>
              <a:cs typeface="Arial" pitchFamily="34" charset="0"/>
            </a:rPr>
            <a:t>1.542 M€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1442652" y="3002279"/>
        <a:ext cx="6028505" cy="74837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A0939D-9A33-442F-A4A6-685470FD1F07}">
      <dsp:nvSpPr>
        <dsp:cNvPr id="0" name=""/>
        <dsp:cNvSpPr/>
      </dsp:nvSpPr>
      <dsp:spPr>
        <a:xfrm>
          <a:off x="2401142" y="0"/>
          <a:ext cx="5292963" cy="1140023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800" b="0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Acréscimo de Vol.Negócios/ unidade Incentivo – 4,3€</a:t>
          </a:r>
          <a:endParaRPr lang="pt-PT" sz="1800" b="0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800" b="0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Acréscimo de VAB/unidade Incentivo – 1,5€</a:t>
          </a:r>
          <a:endParaRPr lang="pt-PT" sz="1800" b="0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2401142" y="142503"/>
        <a:ext cx="4865454" cy="855017"/>
      </dsp:txXfrm>
    </dsp:sp>
    <dsp:sp modelId="{5EFDDC35-E431-4A83-8F2E-375C0CE20219}">
      <dsp:nvSpPr>
        <dsp:cNvPr id="0" name=""/>
        <dsp:cNvSpPr/>
      </dsp:nvSpPr>
      <dsp:spPr>
        <a:xfrm>
          <a:off x="2093" y="0"/>
          <a:ext cx="2399049" cy="1140023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Aumento Produtividade</a:t>
          </a:r>
          <a:endParaRPr lang="pt-PT" sz="2000" b="1" kern="1200" dirty="0">
            <a:solidFill>
              <a:schemeClr val="bg1"/>
            </a:solidFill>
            <a:latin typeface="Arial" pitchFamily="34" charset="0"/>
            <a:ea typeface="Geneva" charset="0"/>
            <a:cs typeface="Arial" pitchFamily="34" charset="0"/>
          </a:endParaRPr>
        </a:p>
      </dsp:txBody>
      <dsp:txXfrm>
        <a:off x="57744" y="55651"/>
        <a:ext cx="2287747" cy="1028721"/>
      </dsp:txXfrm>
    </dsp:sp>
    <dsp:sp modelId="{840D4F23-41FD-4CF5-816E-B09FD4C38733}">
      <dsp:nvSpPr>
        <dsp:cNvPr id="0" name=""/>
        <dsp:cNvSpPr/>
      </dsp:nvSpPr>
      <dsp:spPr>
        <a:xfrm>
          <a:off x="2385305" y="1254025"/>
          <a:ext cx="5310700" cy="1140023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800" b="0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Acréscimo de </a:t>
          </a:r>
          <a:r>
            <a:rPr lang="pt-PT" sz="1800" b="0" kern="1200" dirty="0" smtClean="0">
              <a:solidFill>
                <a:srgbClr val="991324"/>
              </a:solidFill>
              <a:latin typeface="Arial" charset="0"/>
              <a:cs typeface="Arial" charset="0"/>
            </a:rPr>
            <a:t>Volume de Negócios Internacional – 78%</a:t>
          </a:r>
          <a:endParaRPr lang="pt-PT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800" b="0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Acréscimo Exportações/unid. Incentivo – 3,6€</a:t>
          </a:r>
          <a:endParaRPr lang="pt-PT" sz="1800" b="0" kern="1200" dirty="0">
            <a:solidFill>
              <a:srgbClr val="991324"/>
            </a:solidFill>
            <a:latin typeface="Arial" charset="0"/>
            <a:ea typeface="Geneva" charset="0"/>
            <a:cs typeface="Arial" charset="0"/>
          </a:endParaRPr>
        </a:p>
      </dsp:txBody>
      <dsp:txXfrm>
        <a:off x="2385305" y="1396528"/>
        <a:ext cx="4883191" cy="855017"/>
      </dsp:txXfrm>
    </dsp:sp>
    <dsp:sp modelId="{494A905B-51B7-4944-9F3D-29C7C303FBDC}">
      <dsp:nvSpPr>
        <dsp:cNvPr id="0" name=""/>
        <dsp:cNvSpPr/>
      </dsp:nvSpPr>
      <dsp:spPr>
        <a:xfrm>
          <a:off x="192" y="1254025"/>
          <a:ext cx="2385112" cy="1140023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Aumento Exportações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55843" y="1309676"/>
        <a:ext cx="2273810" cy="1028721"/>
      </dsp:txXfrm>
    </dsp:sp>
    <dsp:sp modelId="{C997485D-FCC1-4219-866A-B798D13BA0ED}">
      <dsp:nvSpPr>
        <dsp:cNvPr id="0" name=""/>
        <dsp:cNvSpPr/>
      </dsp:nvSpPr>
      <dsp:spPr>
        <a:xfrm>
          <a:off x="2399919" y="2508051"/>
          <a:ext cx="5292404" cy="1140023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800" b="0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Acréscimo Emprego </a:t>
          </a:r>
          <a:r>
            <a:rPr lang="pt-PT" sz="1800" b="0" kern="1200" dirty="0" smtClean="0">
              <a:solidFill>
                <a:srgbClr val="991324"/>
              </a:solidFill>
              <a:latin typeface="Arial" charset="0"/>
              <a:cs typeface="Arial" charset="0"/>
            </a:rPr>
            <a:t>– 15%</a:t>
          </a:r>
          <a:endParaRPr lang="pt-PT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PT" sz="1800" b="0" kern="1200" dirty="0" smtClean="0">
              <a:solidFill>
                <a:srgbClr val="991324"/>
              </a:solidFill>
              <a:latin typeface="Arial" charset="0"/>
              <a:ea typeface="Geneva" charset="0"/>
              <a:cs typeface="Arial" charset="0"/>
            </a:rPr>
            <a:t>14 mil postos de trabalho</a:t>
          </a:r>
          <a:endParaRPr lang="pt-PT" sz="1800" kern="1200" dirty="0"/>
        </a:p>
      </dsp:txBody>
      <dsp:txXfrm>
        <a:off x="2399919" y="2650554"/>
        <a:ext cx="4864895" cy="855017"/>
      </dsp:txXfrm>
    </dsp:sp>
    <dsp:sp modelId="{8996B770-E6EB-4AB0-8164-AFAD586BAFBD}">
      <dsp:nvSpPr>
        <dsp:cNvPr id="0" name=""/>
        <dsp:cNvSpPr/>
      </dsp:nvSpPr>
      <dsp:spPr>
        <a:xfrm>
          <a:off x="3875" y="2508051"/>
          <a:ext cx="2396043" cy="1140023"/>
        </a:xfrm>
        <a:prstGeom prst="roundRect">
          <a:avLst/>
        </a:prstGeom>
        <a:solidFill>
          <a:schemeClr val="accent2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Criação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sz="2000" kern="1200" dirty="0" smtClean="0">
              <a:latin typeface="Arial" pitchFamily="34" charset="0"/>
              <a:cs typeface="Arial" pitchFamily="34" charset="0"/>
            </a:rPr>
            <a:t> Emprego</a:t>
          </a:r>
          <a:endParaRPr lang="pt-PT" sz="2000" kern="1200" dirty="0">
            <a:latin typeface="Arial" pitchFamily="34" charset="0"/>
            <a:cs typeface="Arial" pitchFamily="34" charset="0"/>
          </a:endParaRPr>
        </a:p>
      </dsp:txBody>
      <dsp:txXfrm>
        <a:off x="59526" y="2563702"/>
        <a:ext cx="2284741" cy="10287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equation2">
  <dgm:title val=""/>
  <dgm:desc val=""/>
  <dgm:catLst>
    <dgm:cat type="relationship" pri="18000"/>
    <dgm:cat type="process" pri="2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linDir" val="fromL"/>
          <dgm:param type="fallback" val="2D"/>
        </dgm:alg>
      </dgm:if>
      <dgm:else name="Name3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ch" ptType="node" func="cnt" op="gte" val="3">
        <dgm:constrLst>
          <dgm:constr type="h" for="des" forName="node" refType="w" fact="0.5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ch" forName="lastNode" op="equ" val="65"/>
          <dgm:constr type="primFontSz" for="des" forName="node" op="equ" val="65"/>
          <dgm:constr type="primFontSz" for="des" forName="sibTrans" val="55"/>
          <dgm:constr type="primFontSz" for="des" forName="sibTrans" refType="primFontSz" refFor="des" refForName="node" op="lte" fact="0.8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if>
      <dgm:else name="Name6">
        <dgm:constrLst>
          <dgm:constr type="h" for="des" forName="node" refType="w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des" forName="node" val="65"/>
          <dgm:constr type="primFontSz" for="ch" forName="lastNode" refType="primFontSz" refFor="des" refForName="node" op="equ"/>
          <dgm:constr type="primFontSz" for="des" forName="sibTrans" val="55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else>
    </dgm:choose>
    <dgm:ruleLst/>
    <dgm:choose name="Name7">
      <dgm:if name="Name8" axis="ch" ptType="node" func="cnt" op="gte" val="1">
        <dgm:layoutNode name="vNodes">
          <dgm:alg type="lin">
            <dgm:param type="linDir" val="fromT"/>
            <dgm:param type="fallback" val="2D"/>
          </dgm:alg>
          <dgm:shape xmlns:r="http://schemas.openxmlformats.org/officeDocument/2006/relationships" r:blip="">
            <dgm:adjLst/>
          </dgm:shape>
          <dgm:presOf/>
          <dgm:constrLst/>
          <dgm:ruleLst/>
          <dgm:forEach name="Name9" axis="ch" ptType="node">
            <dgm:choose name="Name10">
              <dgm:if name="Name11" axis="self" func="revPos" op="neq" val="1">
                <dgm:layoutNode name="node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  <dgm:choose name="Name12">
                  <dgm:if name="Name13" axis="self" ptType="node" func="revPos" op="gt" val="2">
                    <dgm:forEach name="sibTransForEach" axis="followSib" ptType="sibTrans" cnt="1">
                      <dgm:layoutNode name="spacerT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  <dgm:layoutNode name="sibTrans">
                        <dgm:alg type="tx"/>
                        <dgm:shape xmlns:r="http://schemas.openxmlformats.org/officeDocument/2006/relationships" type="mathPlus" r:blip="">
                          <dgm:adjLst/>
                        </dgm:shape>
                        <dgm:presOf axis="self"/>
                        <dgm:constrLst>
                          <dgm:constr type="h" refType="w"/>
                          <dgm:constr type="lMarg"/>
                          <dgm:constr type="rMarg"/>
                          <dgm:constr type="tMarg"/>
                          <dgm:constr type="bMarg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spacerB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</dgm:forEach>
                  </dgm:if>
                  <dgm:else name="Name14"/>
                </dgm:choose>
              </dgm:if>
              <dgm:else name="Name15"/>
            </dgm:choose>
          </dgm:forEach>
        </dgm:layoutNode>
        <dgm:choose name="Name16">
          <dgm:if name="Name17" axis="ch" ptType="node" func="cnt" op="gt" val="1">
            <dgm:layoutNode name="sibTransLast">
              <dgm:alg type="conn">
                <dgm:param type="begPts" val="auto"/>
                <dgm:param type="endPts" val="auto"/>
                <dgm:param type="srcNode" val="vNodes"/>
                <dgm:param type="dstNode" val="lastNode"/>
              </dgm:alg>
              <dgm:shape xmlns:r="http://schemas.openxmlformats.org/officeDocument/2006/relationships" type="conn" r:blip="">
                <dgm:adjLst/>
              </dgm:shape>
              <dgm:presOf axis="ch" ptType="sibTrans" st="-1" cnt="1"/>
              <dgm:constrLst>
                <dgm:constr type="h" refType="w" fact="0.62"/>
                <dgm:constr type="connDist"/>
                <dgm:constr type="begPad" refType="connDist" fact="0.25"/>
                <dgm:constr type="endPad" refType="connDist" fact="0.22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ch desOrSelf" ptType="sibTrans sibTrans" st="-1 1" cnt="1 0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if>
          <dgm:else name="Name18"/>
        </dgm:choose>
        <dgm:layoutNode name="lastNode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ellipse" r:blip="">
            <dgm:adjLst/>
          </dgm:shape>
          <dgm:presOf axis="ch desOrSelf" ptType="node node" st="-1 1" cnt="1 0"/>
          <dgm:constrLst>
            <dgm:constr type="h" refType="w"/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</dgm:if>
      <dgm:else name="Name19"/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#7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#8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#9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#10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#1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#12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#13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#14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#5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#5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#3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#4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#5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#6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dirty="0"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F2B447E-B36A-4D93-914F-3F5B19156AAD}" type="datetimeFigureOut">
              <a:rPr lang="pt-PT"/>
              <a:pPr>
                <a:defRPr/>
              </a:pPr>
              <a:t>17-12-2012</a:t>
            </a:fld>
            <a:endParaRPr lang="pt-PT" dirty="0"/>
          </a:p>
        </p:txBody>
      </p:sp>
      <p:sp>
        <p:nvSpPr>
          <p:cNvPr id="327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dirty="0"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327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9D0C32B2-BA68-437F-8BFC-FF21B2862721}" type="slidenum">
              <a:rPr lang="pt-PT"/>
              <a:pPr>
                <a:defRPr/>
              </a:pPr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3938993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514396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51439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2E2B48C-2FE8-40E3-98FF-CB6BE8B02190}" type="datetimeFigureOut">
              <a:rPr lang="en-US"/>
              <a:pPr>
                <a:defRPr/>
              </a:pPr>
              <a:t>12/17/20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25475" y="741363"/>
            <a:ext cx="55467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691063"/>
            <a:ext cx="5438775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noProof="0" smtClean="0"/>
              <a:t>Click to edit Master text styles</a:t>
            </a:r>
          </a:p>
          <a:p>
            <a:pPr lvl="1"/>
            <a:r>
              <a:rPr lang="pt-PT" noProof="0" smtClean="0"/>
              <a:t>Second level</a:t>
            </a:r>
          </a:p>
          <a:p>
            <a:pPr lvl="2"/>
            <a:r>
              <a:rPr lang="pt-PT" noProof="0" smtClean="0"/>
              <a:t>Third level</a:t>
            </a:r>
          </a:p>
          <a:p>
            <a:pPr lvl="3"/>
            <a:r>
              <a:rPr lang="pt-PT" noProof="0" smtClean="0"/>
              <a:t>Fourth level</a:t>
            </a:r>
          </a:p>
          <a:p>
            <a:pPr lvl="4"/>
            <a:r>
              <a:rPr lang="pt-PT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514396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51439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4362E8BC-6957-4167-A190-859CFAAF6A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338384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51435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Geneva" charset="0"/>
        <a:cs typeface="Geneva" charset="0"/>
      </a:defRPr>
    </a:lvl1pPr>
    <a:lvl2pPr marL="514350" algn="l" defTabSz="51435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Geneva" charset="0"/>
        <a:cs typeface="Geneva"/>
      </a:defRPr>
    </a:lvl2pPr>
    <a:lvl3pPr marL="1028700" algn="l" defTabSz="51435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Geneva" charset="0"/>
        <a:cs typeface="Geneva"/>
      </a:defRPr>
    </a:lvl3pPr>
    <a:lvl4pPr marL="1543050" algn="l" defTabSz="51435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Geneva" charset="0"/>
        <a:cs typeface="Geneva"/>
      </a:defRPr>
    </a:lvl4pPr>
    <a:lvl5pPr marL="2057400" algn="l" defTabSz="514350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Geneva" charset="0"/>
        <a:cs typeface="Geneva"/>
      </a:defRPr>
    </a:lvl5pPr>
    <a:lvl6pPr marL="2571979" algn="l" defTabSz="51439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086374" algn="l" defTabSz="51439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00770" algn="l" defTabSz="51439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15166" algn="l" defTabSz="51439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2048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514350" fontAlgn="base">
              <a:spcBef>
                <a:spcPct val="0"/>
              </a:spcBef>
              <a:spcAft>
                <a:spcPct val="0"/>
              </a:spcAft>
              <a:defRPr/>
            </a:pPr>
            <a:fld id="{5F2BE2E9-CD2D-4897-AC63-D2CE28A14298}" type="slidenum">
              <a:rPr lang="en-US" smtClean="0">
                <a:ea typeface="Geneva"/>
                <a:cs typeface="Geneva"/>
              </a:rPr>
              <a:pPr defTabSz="514350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 dirty="0" smtClean="0">
              <a:ea typeface="Geneva"/>
              <a:cs typeface="Geneva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584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35843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D7D36FA-EF0A-4F81-8503-6108B90A0B4C}" type="slidenum">
              <a:rPr lang="en-US" sz="1200"/>
              <a:pPr algn="r"/>
              <a:t>11</a:t>
            </a:fld>
            <a:endParaRPr lang="en-US" sz="120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789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37891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E8FEDF9-E9E2-4F61-BABE-B0A218FC4EC0}" type="slidenum">
              <a:rPr lang="en-US" sz="1200"/>
              <a:pPr algn="r"/>
              <a:t>12</a:t>
            </a:fld>
            <a:endParaRPr lang="en-US" sz="120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3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39939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0B9BCDD2-8F70-4FC6-A8D9-7A62ABC4015E}" type="slidenum">
              <a:rPr lang="en-US" sz="1200"/>
              <a:pPr algn="r"/>
              <a:t>13</a:t>
            </a:fld>
            <a:endParaRPr lang="en-US" sz="120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41987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25D5B3B6-A286-4241-B548-4C4FBDE834CF}" type="slidenum">
              <a:rPr lang="en-US" sz="1200"/>
              <a:pPr algn="r"/>
              <a:t>14</a:t>
            </a:fld>
            <a:endParaRPr lang="en-US" sz="120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44035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EAB4C075-596B-4BD2-89E2-1ED95E8870EC}" type="slidenum">
              <a:rPr lang="en-US" sz="1200"/>
              <a:pPr algn="r"/>
              <a:t>15</a:t>
            </a:fld>
            <a:endParaRPr lang="en-US" sz="120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46083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B94843A5-A55B-448D-95C9-422BF408E7FF}" type="slidenum">
              <a:rPr lang="en-US" sz="1200"/>
              <a:pPr algn="r"/>
              <a:t>16</a:t>
            </a:fld>
            <a:endParaRPr lang="en-US" sz="120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813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48131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74B7DDF3-0D37-4948-869E-B49874EBE558}" type="slidenum">
              <a:rPr lang="en-US" sz="1200"/>
              <a:pPr algn="r"/>
              <a:t>17</a:t>
            </a:fld>
            <a:endParaRPr lang="en-US" sz="120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50179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E84C6E43-8F73-40A9-8BBC-5366BBCFB258}" type="slidenum">
              <a:rPr lang="en-US" sz="1200"/>
              <a:pPr algn="r"/>
              <a:t>18</a:t>
            </a:fld>
            <a:endParaRPr lang="en-US" sz="120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24579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514350" fontAlgn="base">
              <a:spcBef>
                <a:spcPct val="0"/>
              </a:spcBef>
              <a:spcAft>
                <a:spcPct val="0"/>
              </a:spcAft>
              <a:defRPr/>
            </a:pPr>
            <a:fld id="{14A8C5D5-ED23-43F4-A8D7-406BD1CDB825}" type="slidenum">
              <a:rPr lang="en-US" smtClean="0">
                <a:ea typeface="Geneva"/>
                <a:cs typeface="Geneva"/>
              </a:rPr>
              <a:pPr defTabSz="514350" fontAlgn="base">
                <a:spcBef>
                  <a:spcPct val="0"/>
                </a:spcBef>
                <a:spcAft>
                  <a:spcPct val="0"/>
                </a:spcAft>
                <a:defRPr/>
              </a:pPr>
              <a:t>19</a:t>
            </a:fld>
            <a:endParaRPr lang="en-US" dirty="0" smtClean="0">
              <a:ea typeface="Geneva"/>
              <a:cs typeface="Geneva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54275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7511C2AB-4015-4F27-9346-4545F0B5C0AA}" type="slidenum">
              <a:rPr lang="en-US" sz="1200"/>
              <a:pPr algn="r"/>
              <a:t>20</a:t>
            </a:fld>
            <a:endParaRPr lang="en-US" sz="12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19459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1641882-A801-4E73-A853-398ADF09CA48}" type="slidenum">
              <a:rPr lang="en-US" sz="1200"/>
              <a:pPr algn="r"/>
              <a:t>3</a:t>
            </a:fld>
            <a:endParaRPr lang="en-US" sz="120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56323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E5A44E20-0B14-4C89-98DD-1405C67611CA}" type="slidenum">
              <a:rPr lang="en-US" sz="1200"/>
              <a:pPr algn="r"/>
              <a:t>21</a:t>
            </a:fld>
            <a:endParaRPr lang="en-US" sz="120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837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58371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74D91321-1B96-4101-9F48-2F5856B14A72}" type="slidenum">
              <a:rPr lang="en-US" sz="1200"/>
              <a:pPr algn="r"/>
              <a:t>22</a:t>
            </a:fld>
            <a:endParaRPr lang="en-US" sz="120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60419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61159D56-0DAD-4530-87D2-BE5183460902}" type="slidenum">
              <a:rPr lang="en-US" sz="1200"/>
              <a:pPr algn="r"/>
              <a:t>23</a:t>
            </a:fld>
            <a:endParaRPr lang="en-US" sz="120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246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62467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5F93FF09-34C8-4C94-93E0-1135DEDC6E8D}" type="slidenum">
              <a:rPr lang="en-US" sz="1200"/>
              <a:pPr algn="r"/>
              <a:t>24</a:t>
            </a:fld>
            <a:endParaRPr lang="en-US" sz="120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451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64515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55E7AD77-058A-4562-8F1C-346BED46AE89}" type="slidenum">
              <a:rPr lang="en-US" sz="1200"/>
              <a:pPr algn="r"/>
              <a:t>25</a:t>
            </a:fld>
            <a:endParaRPr lang="en-US" sz="120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656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66563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A6536C04-D558-4A2D-85EC-DDAB7CE9AB2D}" type="slidenum">
              <a:rPr lang="en-US" sz="1200"/>
              <a:pPr algn="r"/>
              <a:t>26</a:t>
            </a:fld>
            <a:endParaRPr lang="en-US" sz="120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61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68611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556B96D-3EA5-4A16-B18B-1536E3D84B83}" type="slidenum">
              <a:rPr lang="en-US" sz="1200"/>
              <a:pPr algn="r"/>
              <a:t>27</a:t>
            </a:fld>
            <a:endParaRPr lang="en-US" sz="120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065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70659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F2A556E1-09F6-4391-9CC7-F5D4D3EBABF4}" type="slidenum">
              <a:rPr lang="en-US" sz="1200"/>
              <a:pPr algn="r"/>
              <a:t>28</a:t>
            </a:fld>
            <a:endParaRPr lang="en-US" sz="120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270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72707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851519CF-11E9-495A-9C59-6E425422030A}" type="slidenum">
              <a:rPr lang="en-US" sz="1200"/>
              <a:pPr algn="r"/>
              <a:t>29</a:t>
            </a:fld>
            <a:endParaRPr lang="en-US" sz="120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475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74755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E06A5A3A-BDD2-4A82-A0E8-CE8F0247F47C}" type="slidenum">
              <a:rPr lang="en-US" sz="1200"/>
              <a:pPr algn="r"/>
              <a:t>30</a:t>
            </a:fld>
            <a:endParaRPr lang="en-US" sz="120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21507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6C6F083B-829D-4126-9780-82611D6D5872}" type="slidenum">
              <a:rPr lang="en-US" sz="1200"/>
              <a:pPr algn="r"/>
              <a:t>4</a:t>
            </a:fld>
            <a:endParaRPr lang="en-US" sz="120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680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76803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8E271EF1-36C8-4C57-BC41-F05CCE69E4F1}" type="slidenum">
              <a:rPr lang="en-US" sz="1200"/>
              <a:pPr algn="r"/>
              <a:t>31</a:t>
            </a:fld>
            <a:endParaRPr lang="en-US" sz="120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78851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BC1C7BA2-2B54-4EE0-86AD-50824C6B8B36}" type="slidenum">
              <a:rPr lang="en-US" sz="1200"/>
              <a:pPr algn="r"/>
              <a:t>32</a:t>
            </a:fld>
            <a:endParaRPr lang="en-US" sz="120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089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2048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514350" fontAlgn="base">
              <a:spcBef>
                <a:spcPct val="0"/>
              </a:spcBef>
              <a:spcAft>
                <a:spcPct val="0"/>
              </a:spcAft>
              <a:defRPr/>
            </a:pPr>
            <a:fld id="{C7E027CF-FEAB-49AE-8063-A6BA80E7097B}" type="slidenum">
              <a:rPr lang="en-US" smtClean="0">
                <a:ea typeface="Geneva"/>
                <a:cs typeface="Geneva"/>
              </a:rPr>
              <a:pPr defTabSz="514350" fontAlgn="base">
                <a:spcBef>
                  <a:spcPct val="0"/>
                </a:spcBef>
                <a:spcAft>
                  <a:spcPct val="0"/>
                </a:spcAft>
                <a:defRPr/>
              </a:pPr>
              <a:t>33</a:t>
            </a:fld>
            <a:endParaRPr lang="en-US" dirty="0" smtClean="0">
              <a:ea typeface="Geneva"/>
              <a:cs typeface="Geneva"/>
            </a:endParaRPr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294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82947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B995CA88-CA14-40C7-B6AE-EB62D34C483D}" type="slidenum">
              <a:rPr lang="en-US" sz="1200"/>
              <a:pPr algn="r"/>
              <a:t>34</a:t>
            </a:fld>
            <a:endParaRPr lang="en-US" sz="1200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99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84995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62983D03-53C9-41D7-9D06-BFC6308ED87F}" type="slidenum">
              <a:rPr lang="en-US" sz="1200"/>
              <a:pPr algn="r"/>
              <a:t>35</a:t>
            </a:fld>
            <a:endParaRPr lang="en-US" sz="1200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704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87043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C928A105-801F-429E-ACE7-48CCF8F58C53}" type="slidenum">
              <a:rPr lang="en-US" sz="1200"/>
              <a:pPr algn="r"/>
              <a:t>36</a:t>
            </a:fld>
            <a:endParaRPr lang="en-US" sz="1200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8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909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89091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B6EA5498-9B3B-4DD1-A4AA-C3DA2D395BC7}" type="slidenum">
              <a:rPr lang="en-US" sz="1200"/>
              <a:pPr algn="r"/>
              <a:t>37</a:t>
            </a:fld>
            <a:endParaRPr lang="en-US" sz="1200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113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91139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28737A15-5B03-4857-97E7-A3BA1713CA26}" type="slidenum">
              <a:rPr lang="en-US" sz="1200"/>
              <a:pPr algn="r"/>
              <a:t>38</a:t>
            </a:fld>
            <a:endParaRPr lang="en-US" sz="1200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318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93187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B34D90FF-C1D9-4C7F-8EEB-0B00D4F61282}" type="slidenum">
              <a:rPr lang="en-US" sz="1200"/>
              <a:pPr algn="r"/>
              <a:t>39</a:t>
            </a:fld>
            <a:endParaRPr lang="en-US" sz="1200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523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95235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04864003-F2F2-4804-8A63-1DAD0F36A4C8}" type="slidenum">
              <a:rPr lang="en-US" sz="1200"/>
              <a:pPr algn="r"/>
              <a:t>40</a:t>
            </a:fld>
            <a:endParaRPr lang="en-US" sz="120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23555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A0B72824-F9D6-45D0-AF95-E21CCD69B1EC}" type="slidenum">
              <a:rPr lang="en-US" sz="1200"/>
              <a:pPr algn="r"/>
              <a:t>5</a:t>
            </a:fld>
            <a:endParaRPr lang="en-US" sz="1200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728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97283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FAA001BB-9FA5-450D-8453-897E6E422D12}" type="slidenum">
              <a:rPr lang="en-US" sz="1200"/>
              <a:pPr algn="r"/>
              <a:t>41</a:t>
            </a:fld>
            <a:endParaRPr lang="en-US" sz="1200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2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933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99331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0A8AC034-9674-417C-A470-8F59B129F55C}" type="slidenum">
              <a:rPr lang="en-US" sz="1200"/>
              <a:pPr algn="r"/>
              <a:t>42</a:t>
            </a:fld>
            <a:endParaRPr lang="en-US" sz="1200"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13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101379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5D1A9B9E-13FF-40A0-8EE0-D74B8D24504A}" type="slidenum">
              <a:rPr lang="en-US" sz="1200"/>
              <a:pPr algn="r"/>
              <a:t>43</a:t>
            </a:fld>
            <a:endParaRPr lang="en-US" sz="1200"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342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103427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58572FFB-933D-4B28-AD44-5A38239C181C}" type="slidenum">
              <a:rPr lang="en-US" sz="1200"/>
              <a:pPr algn="r"/>
              <a:t>44</a:t>
            </a:fld>
            <a:endParaRPr lang="en-US" sz="1200"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547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2048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514350" fontAlgn="base">
              <a:spcBef>
                <a:spcPct val="0"/>
              </a:spcBef>
              <a:spcAft>
                <a:spcPct val="0"/>
              </a:spcAft>
              <a:defRPr/>
            </a:pPr>
            <a:fld id="{FA83AC5B-4B39-4F90-882C-CBE03BDFF7D3}" type="slidenum">
              <a:rPr lang="en-US" smtClean="0">
                <a:ea typeface="Geneva"/>
                <a:cs typeface="Geneva"/>
              </a:rPr>
              <a:pPr defTabSz="514350" fontAlgn="base">
                <a:spcBef>
                  <a:spcPct val="0"/>
                </a:spcBef>
                <a:spcAft>
                  <a:spcPct val="0"/>
                </a:spcAft>
                <a:defRPr/>
              </a:pPr>
              <a:t>45</a:t>
            </a:fld>
            <a:endParaRPr lang="en-US" dirty="0" smtClean="0">
              <a:ea typeface="Geneva"/>
              <a:cs typeface="Geneva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25603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9F84A2-170F-4143-844F-F06D7132DCDA}" type="slidenum">
              <a:rPr lang="en-US" sz="1200"/>
              <a:pPr algn="r"/>
              <a:t>6</a:t>
            </a:fld>
            <a:endParaRPr lang="en-US" sz="120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2048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514350" fontAlgn="base">
              <a:spcBef>
                <a:spcPct val="0"/>
              </a:spcBef>
              <a:spcAft>
                <a:spcPct val="0"/>
              </a:spcAft>
              <a:defRPr/>
            </a:pPr>
            <a:fld id="{5EF0597A-8C34-4CDE-B5AE-B682EB5117F5}" type="slidenum">
              <a:rPr lang="en-US" smtClean="0">
                <a:ea typeface="Geneva"/>
                <a:cs typeface="Geneva"/>
              </a:rPr>
              <a:pPr defTabSz="514350"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US" dirty="0" smtClean="0">
              <a:ea typeface="Geneva"/>
              <a:cs typeface="Geneva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29699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1CD5DCC-76B4-4B2A-AFAB-402663EEB175}" type="slidenum">
              <a:rPr lang="en-US" sz="1200"/>
              <a:pPr algn="r"/>
              <a:t>8</a:t>
            </a:fld>
            <a:endParaRPr lang="en-US" sz="120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31747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7DA784F3-7DC8-4C96-BD68-37BD242D91EC}" type="slidenum">
              <a:rPr lang="en-US" sz="1200"/>
              <a:pPr algn="r"/>
              <a:t>9</a:t>
            </a:fld>
            <a:endParaRPr lang="en-US" sz="120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PT" smtClean="0">
              <a:ea typeface="Geneva"/>
              <a:cs typeface="Geneva"/>
            </a:endParaRPr>
          </a:p>
        </p:txBody>
      </p:sp>
      <p:sp>
        <p:nvSpPr>
          <p:cNvPr id="33795" name="Slide Number Placeholder 3"/>
          <p:cNvSpPr txBox="1">
            <a:spLocks noGrp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7083A691-4F33-46F3-A0A4-07E78EB22F90}" type="slidenum">
              <a:rPr lang="en-US" sz="1200"/>
              <a:pPr algn="r"/>
              <a:t>10</a:t>
            </a:fld>
            <a:endParaRPr lang="en-US" sz="12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9982" y="2238426"/>
            <a:ext cx="9179799" cy="1544547"/>
          </a:xfrm>
        </p:spPr>
        <p:txBody>
          <a:bodyPr/>
          <a:lstStyle/>
          <a:p>
            <a:r>
              <a:rPr lang="pt-PT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19965" y="4083209"/>
            <a:ext cx="7559834" cy="184144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14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8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43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57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71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863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007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15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PT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2259B3-A3EE-4CFE-BE8E-8BD485B1B037}" type="datetimeFigureOut">
              <a:rPr lang="en-US"/>
              <a:pPr>
                <a:defRPr/>
              </a:pPr>
              <a:t>12/17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9D43C1-7078-42BE-A3DD-0D1CDF8079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98D1DC-B271-4FB4-8179-2C47899B24CB}" type="datetimeFigureOut">
              <a:rPr lang="en-US"/>
              <a:pPr>
                <a:defRPr/>
              </a:pPr>
              <a:t>12/17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7F4928-1886-4B62-8F49-3A04B2E3C0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49173" y="303572"/>
            <a:ext cx="2868687" cy="6460078"/>
          </a:xfrm>
        </p:spPr>
        <p:txBody>
          <a:bodyPr vert="eaVert"/>
          <a:lstStyle/>
          <a:p>
            <a:r>
              <a:rPr lang="pt-PT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7486" y="303572"/>
            <a:ext cx="8431691" cy="6460078"/>
          </a:xfrm>
        </p:spPr>
        <p:txBody>
          <a:bodyPr vert="eaVert"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EDA830-E237-42A1-8098-999DB40DBA3C}" type="datetimeFigureOut">
              <a:rPr lang="en-US"/>
              <a:pPr>
                <a:defRPr/>
              </a:pPr>
              <a:t>12/17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4EF622-E373-4E3E-BC9F-C058010C101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3C9FA3-0F79-452E-8196-9221FCE9F4B1}" type="datetimeFigureOut">
              <a:rPr lang="en-US"/>
              <a:pPr>
                <a:defRPr/>
              </a:pPr>
              <a:t>12/17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CE794B-9A24-49B1-8768-24534323C11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3107" y="4630306"/>
            <a:ext cx="9179799" cy="1431125"/>
          </a:xfrm>
        </p:spPr>
        <p:txBody>
          <a:bodyPr anchor="t"/>
          <a:lstStyle>
            <a:lvl1pPr algn="l">
              <a:defRPr sz="4500" b="1" cap="all"/>
            </a:lvl1pPr>
          </a:lstStyle>
          <a:p>
            <a:r>
              <a:rPr lang="pt-PT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3107" y="3054068"/>
            <a:ext cx="9179799" cy="1576238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1439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2879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431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575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719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863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007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151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PT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9F6EA7-C550-4730-9948-5D38E4387A3E}" type="datetimeFigureOut">
              <a:rPr lang="en-US"/>
              <a:pPr>
                <a:defRPr/>
              </a:pPr>
              <a:t>12/17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3A98FF-D94F-43D9-90F2-5AAB9F313A8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7486" y="1766389"/>
            <a:ext cx="5649252" cy="499726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66734" y="1766389"/>
            <a:ext cx="5651126" cy="499726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21793F-3C73-48B8-A74C-5BB9BB69668B}" type="datetimeFigureOut">
              <a:rPr lang="en-US"/>
              <a:pPr>
                <a:defRPr/>
              </a:pPr>
              <a:t>12/17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5C3638-837E-4A08-BE0E-5AF88676E2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988" y="288561"/>
            <a:ext cx="9719787" cy="1200944"/>
          </a:xfrm>
        </p:spPr>
        <p:txBody>
          <a:bodyPr/>
          <a:lstStyle>
            <a:lvl1pPr>
              <a:defRPr/>
            </a:lvl1pPr>
          </a:lstStyle>
          <a:p>
            <a:r>
              <a:rPr lang="pt-PT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88" y="1612935"/>
            <a:ext cx="4771771" cy="672194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4396" indent="0">
              <a:buNone/>
              <a:defRPr sz="2300" b="1"/>
            </a:lvl2pPr>
            <a:lvl3pPr marL="1028791" indent="0">
              <a:buNone/>
              <a:defRPr sz="2000" b="1"/>
            </a:lvl3pPr>
            <a:lvl4pPr marL="1543187" indent="0">
              <a:buNone/>
              <a:defRPr sz="1800" b="1"/>
            </a:lvl4pPr>
            <a:lvl5pPr marL="2057583" indent="0">
              <a:buNone/>
              <a:defRPr sz="1800" b="1"/>
            </a:lvl5pPr>
            <a:lvl6pPr marL="2571979" indent="0">
              <a:buNone/>
              <a:defRPr sz="1800" b="1"/>
            </a:lvl6pPr>
            <a:lvl7pPr marL="3086374" indent="0">
              <a:buNone/>
              <a:defRPr sz="1800" b="1"/>
            </a:lvl7pPr>
            <a:lvl8pPr marL="3600770" indent="0">
              <a:buNone/>
              <a:defRPr sz="1800" b="1"/>
            </a:lvl8pPr>
            <a:lvl9pPr marL="4115166" indent="0">
              <a:buNone/>
              <a:defRPr sz="1800" b="1"/>
            </a:lvl9pPr>
          </a:lstStyle>
          <a:p>
            <a:pPr lvl="0"/>
            <a:r>
              <a:rPr lang="pt-PT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9988" y="2285129"/>
            <a:ext cx="4771771" cy="4151597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86130" y="1612935"/>
            <a:ext cx="4773645" cy="672194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4396" indent="0">
              <a:buNone/>
              <a:defRPr sz="2300" b="1"/>
            </a:lvl2pPr>
            <a:lvl3pPr marL="1028791" indent="0">
              <a:buNone/>
              <a:defRPr sz="2000" b="1"/>
            </a:lvl3pPr>
            <a:lvl4pPr marL="1543187" indent="0">
              <a:buNone/>
              <a:defRPr sz="1800" b="1"/>
            </a:lvl4pPr>
            <a:lvl5pPr marL="2057583" indent="0">
              <a:buNone/>
              <a:defRPr sz="1800" b="1"/>
            </a:lvl5pPr>
            <a:lvl6pPr marL="2571979" indent="0">
              <a:buNone/>
              <a:defRPr sz="1800" b="1"/>
            </a:lvl6pPr>
            <a:lvl7pPr marL="3086374" indent="0">
              <a:buNone/>
              <a:defRPr sz="1800" b="1"/>
            </a:lvl7pPr>
            <a:lvl8pPr marL="3600770" indent="0">
              <a:buNone/>
              <a:defRPr sz="1800" b="1"/>
            </a:lvl8pPr>
            <a:lvl9pPr marL="4115166" indent="0">
              <a:buNone/>
              <a:defRPr sz="1800" b="1"/>
            </a:lvl9pPr>
          </a:lstStyle>
          <a:p>
            <a:pPr lvl="0"/>
            <a:r>
              <a:rPr lang="pt-PT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86130" y="2285129"/>
            <a:ext cx="4773645" cy="4151597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1B318D-2BDA-4762-B681-6893D34F74C7}" type="datetimeFigureOut">
              <a:rPr lang="en-US"/>
              <a:pPr>
                <a:defRPr/>
              </a:pPr>
              <a:t>12/17/2012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C52181-1449-4FAA-9E55-39D2A88258F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B32878-521D-4B69-A200-B41093FDC9B2}" type="datetimeFigureOut">
              <a:rPr lang="en-US"/>
              <a:pPr>
                <a:defRPr/>
              </a:pPr>
              <a:t>12/17/2012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1B9190-1AB3-4534-B91A-037E6938B08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A455F2-0AA5-45DC-8FE5-15E80DD17A63}" type="datetimeFigureOut">
              <a:rPr lang="en-US"/>
              <a:pPr>
                <a:defRPr/>
              </a:pPr>
              <a:t>12/17/2012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59D13D-41C5-49FA-95AC-8AFD7A31D86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989" y="286892"/>
            <a:ext cx="3553048" cy="1220960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pt-PT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22407" y="286893"/>
            <a:ext cx="6037368" cy="6149834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9989" y="1507852"/>
            <a:ext cx="3553048" cy="4928874"/>
          </a:xfrm>
        </p:spPr>
        <p:txBody>
          <a:bodyPr/>
          <a:lstStyle>
            <a:lvl1pPr marL="0" indent="0">
              <a:buNone/>
              <a:defRPr sz="1600"/>
            </a:lvl1pPr>
            <a:lvl2pPr marL="514396" indent="0">
              <a:buNone/>
              <a:defRPr sz="1400"/>
            </a:lvl2pPr>
            <a:lvl3pPr marL="1028791" indent="0">
              <a:buNone/>
              <a:defRPr sz="1100"/>
            </a:lvl3pPr>
            <a:lvl4pPr marL="1543187" indent="0">
              <a:buNone/>
              <a:defRPr sz="1000"/>
            </a:lvl4pPr>
            <a:lvl5pPr marL="2057583" indent="0">
              <a:buNone/>
              <a:defRPr sz="1000"/>
            </a:lvl5pPr>
            <a:lvl6pPr marL="2571979" indent="0">
              <a:buNone/>
              <a:defRPr sz="1000"/>
            </a:lvl6pPr>
            <a:lvl7pPr marL="3086374" indent="0">
              <a:buNone/>
              <a:defRPr sz="1000"/>
            </a:lvl7pPr>
            <a:lvl8pPr marL="3600770" indent="0">
              <a:buNone/>
              <a:defRPr sz="1000"/>
            </a:lvl8pPr>
            <a:lvl9pPr marL="4115166" indent="0">
              <a:buNone/>
              <a:defRPr sz="1000"/>
            </a:lvl9pPr>
          </a:lstStyle>
          <a:p>
            <a:pPr lvl="0"/>
            <a:r>
              <a:rPr lang="pt-PT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378070-19F4-4C4B-B113-2B27F71903A4}" type="datetimeFigureOut">
              <a:rPr lang="en-US"/>
              <a:pPr>
                <a:defRPr/>
              </a:pPr>
              <a:t>12/17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D8DE02-23F0-40E1-B895-E2429D32425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6829" y="5043964"/>
            <a:ext cx="6479858" cy="595469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pt-PT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116829" y="643839"/>
            <a:ext cx="6479858" cy="4323398"/>
          </a:xfrm>
        </p:spPr>
        <p:txBody>
          <a:bodyPr rtlCol="0">
            <a:normAutofit/>
          </a:bodyPr>
          <a:lstStyle>
            <a:lvl1pPr marL="0" indent="0">
              <a:buNone/>
              <a:defRPr sz="3600"/>
            </a:lvl1pPr>
            <a:lvl2pPr marL="514396" indent="0">
              <a:buNone/>
              <a:defRPr sz="3200"/>
            </a:lvl2pPr>
            <a:lvl3pPr marL="1028791" indent="0">
              <a:buNone/>
              <a:defRPr sz="2700"/>
            </a:lvl3pPr>
            <a:lvl4pPr marL="1543187" indent="0">
              <a:buNone/>
              <a:defRPr sz="2300"/>
            </a:lvl4pPr>
            <a:lvl5pPr marL="2057583" indent="0">
              <a:buNone/>
              <a:defRPr sz="2300"/>
            </a:lvl5pPr>
            <a:lvl6pPr marL="2571979" indent="0">
              <a:buNone/>
              <a:defRPr sz="2300"/>
            </a:lvl6pPr>
            <a:lvl7pPr marL="3086374" indent="0">
              <a:buNone/>
              <a:defRPr sz="2300"/>
            </a:lvl7pPr>
            <a:lvl8pPr marL="3600770" indent="0">
              <a:buNone/>
              <a:defRPr sz="2300"/>
            </a:lvl8pPr>
            <a:lvl9pPr marL="4115166" indent="0">
              <a:buNone/>
              <a:defRPr sz="2300"/>
            </a:lvl9pPr>
          </a:lstStyle>
          <a:p>
            <a:pPr lvl="0"/>
            <a:r>
              <a:rPr lang="pt-PT" noProof="0" dirty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16829" y="5639433"/>
            <a:ext cx="6479858" cy="845664"/>
          </a:xfrm>
        </p:spPr>
        <p:txBody>
          <a:bodyPr/>
          <a:lstStyle>
            <a:lvl1pPr marL="0" indent="0">
              <a:buNone/>
              <a:defRPr sz="1600"/>
            </a:lvl1pPr>
            <a:lvl2pPr marL="514396" indent="0">
              <a:buNone/>
              <a:defRPr sz="1400"/>
            </a:lvl2pPr>
            <a:lvl3pPr marL="1028791" indent="0">
              <a:buNone/>
              <a:defRPr sz="1100"/>
            </a:lvl3pPr>
            <a:lvl4pPr marL="1543187" indent="0">
              <a:buNone/>
              <a:defRPr sz="1000"/>
            </a:lvl4pPr>
            <a:lvl5pPr marL="2057583" indent="0">
              <a:buNone/>
              <a:defRPr sz="1000"/>
            </a:lvl5pPr>
            <a:lvl6pPr marL="2571979" indent="0">
              <a:buNone/>
              <a:defRPr sz="1000"/>
            </a:lvl6pPr>
            <a:lvl7pPr marL="3086374" indent="0">
              <a:buNone/>
              <a:defRPr sz="1000"/>
            </a:lvl7pPr>
            <a:lvl8pPr marL="3600770" indent="0">
              <a:buNone/>
              <a:defRPr sz="1000"/>
            </a:lvl8pPr>
            <a:lvl9pPr marL="4115166" indent="0">
              <a:buNone/>
              <a:defRPr sz="1000"/>
            </a:lvl9pPr>
          </a:lstStyle>
          <a:p>
            <a:pPr lvl="0"/>
            <a:r>
              <a:rPr lang="pt-PT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640E8F-3871-42A2-8103-57A287ED9381}" type="datetimeFigureOut">
              <a:rPr lang="en-US"/>
              <a:pPr>
                <a:defRPr/>
              </a:pPr>
              <a:t>12/17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D73C21-9B7F-4815-B93F-A893147B72E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39750" y="288925"/>
            <a:ext cx="9720263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2879" tIns="51440" rIns="102879" bIns="5144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PT" smtClean="0"/>
              <a:t>Click to edit Master title style</a:t>
            </a:r>
            <a:endParaRPr 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9750" y="1681163"/>
            <a:ext cx="9720263" cy="475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2879" tIns="51440" rIns="102879" bIns="514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9750" y="6678613"/>
            <a:ext cx="2520950" cy="384175"/>
          </a:xfrm>
          <a:prstGeom prst="rect">
            <a:avLst/>
          </a:prstGeom>
        </p:spPr>
        <p:txBody>
          <a:bodyPr vert="horz" lIns="102879" tIns="51440" rIns="102879" bIns="51440" rtlCol="0" anchor="ctr"/>
          <a:lstStyle>
            <a:lvl1pPr algn="l" defTabSz="514396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9080F85-818D-4D7E-AC12-4BAE1DF6653D}" type="datetimeFigureOut">
              <a:rPr lang="en-US"/>
              <a:pPr>
                <a:defRPr/>
              </a:pPr>
              <a:t>12/17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9350" y="6678613"/>
            <a:ext cx="3421063" cy="384175"/>
          </a:xfrm>
          <a:prstGeom prst="rect">
            <a:avLst/>
          </a:prstGeom>
        </p:spPr>
        <p:txBody>
          <a:bodyPr vert="horz" lIns="102879" tIns="51440" rIns="102879" bIns="51440" rtlCol="0" anchor="ctr"/>
          <a:lstStyle>
            <a:lvl1pPr algn="ctr" defTabSz="514396" fontAlgn="auto">
              <a:spcBef>
                <a:spcPts val="0"/>
              </a:spcBef>
              <a:spcAft>
                <a:spcPts val="0"/>
              </a:spcAft>
              <a:defRPr sz="14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39063" y="6678613"/>
            <a:ext cx="2520950" cy="384175"/>
          </a:xfrm>
          <a:prstGeom prst="rect">
            <a:avLst/>
          </a:prstGeom>
        </p:spPr>
        <p:txBody>
          <a:bodyPr vert="horz" lIns="102879" tIns="51440" rIns="102879" bIns="51440" rtlCol="0" anchor="ctr"/>
          <a:lstStyle>
            <a:lvl1pPr algn="r" defTabSz="514396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803297F2-95BE-4151-AF1D-B3AD41905F3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</p:sldLayoutIdLst>
  <p:transition spd="slow">
    <p:fade/>
  </p:transition>
  <p:txStyles>
    <p:titleStyle>
      <a:lvl1pPr algn="ctr" defTabSz="514350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1"/>
          </a:solidFill>
          <a:latin typeface="+mj-lt"/>
          <a:ea typeface="Geneva" charset="0"/>
          <a:cs typeface="Geneva" charset="0"/>
        </a:defRPr>
      </a:lvl1pPr>
      <a:lvl2pPr algn="ctr" defTabSz="514350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charset="0"/>
          <a:ea typeface="Geneva" charset="0"/>
          <a:cs typeface="Geneva" charset="0"/>
        </a:defRPr>
      </a:lvl2pPr>
      <a:lvl3pPr algn="ctr" defTabSz="514350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charset="0"/>
          <a:ea typeface="Geneva" charset="0"/>
          <a:cs typeface="Geneva" charset="0"/>
        </a:defRPr>
      </a:lvl3pPr>
      <a:lvl4pPr algn="ctr" defTabSz="514350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charset="0"/>
          <a:ea typeface="Geneva" charset="0"/>
          <a:cs typeface="Geneva" charset="0"/>
        </a:defRPr>
      </a:lvl4pPr>
      <a:lvl5pPr algn="ctr" defTabSz="514350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charset="0"/>
          <a:ea typeface="Geneva" charset="0"/>
          <a:cs typeface="Geneva" charset="0"/>
        </a:defRPr>
      </a:lvl5pPr>
      <a:lvl6pPr marL="457200" algn="ctr" defTabSz="51435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charset="0"/>
          <a:ea typeface="Geneva" charset="0"/>
          <a:cs typeface="Geneva" charset="0"/>
        </a:defRPr>
      </a:lvl6pPr>
      <a:lvl7pPr marL="914400" algn="ctr" defTabSz="51435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charset="0"/>
          <a:ea typeface="Geneva" charset="0"/>
          <a:cs typeface="Geneva" charset="0"/>
        </a:defRPr>
      </a:lvl7pPr>
      <a:lvl8pPr marL="1371600" algn="ctr" defTabSz="51435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charset="0"/>
          <a:ea typeface="Geneva" charset="0"/>
          <a:cs typeface="Geneva" charset="0"/>
        </a:defRPr>
      </a:lvl8pPr>
      <a:lvl9pPr marL="1828800" algn="ctr" defTabSz="514350" rtl="0" eaLnBrk="1" fontAlgn="base" hangingPunct="1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charset="0"/>
          <a:ea typeface="Geneva" charset="0"/>
          <a:cs typeface="Geneva" charset="0"/>
        </a:defRPr>
      </a:lvl9pPr>
    </p:titleStyle>
    <p:bodyStyle>
      <a:lvl1pPr marL="385763" indent="-385763" algn="l" defTabSz="51435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600" kern="1200">
          <a:solidFill>
            <a:schemeClr val="tx1"/>
          </a:solidFill>
          <a:latin typeface="+mn-lt"/>
          <a:ea typeface="Geneva" charset="0"/>
          <a:cs typeface="Geneva" charset="0"/>
        </a:defRPr>
      </a:lvl1pPr>
      <a:lvl2pPr marL="835025" indent="-320675" algn="l" defTabSz="51435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200" kern="1200">
          <a:solidFill>
            <a:schemeClr val="tx1"/>
          </a:solidFill>
          <a:latin typeface="+mn-lt"/>
          <a:ea typeface="Geneva" charset="0"/>
          <a:cs typeface="Geneva"/>
        </a:defRPr>
      </a:lvl2pPr>
      <a:lvl3pPr marL="1285875" indent="-257175" algn="l" defTabSz="51435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+mn-lt"/>
          <a:ea typeface="Geneva" charset="0"/>
          <a:cs typeface="Geneva"/>
        </a:defRPr>
      </a:lvl3pPr>
      <a:lvl4pPr marL="1800225" indent="-257175" algn="l" defTabSz="51435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300" kern="1200">
          <a:solidFill>
            <a:schemeClr val="tx1"/>
          </a:solidFill>
          <a:latin typeface="+mn-lt"/>
          <a:ea typeface="Geneva" charset="0"/>
          <a:cs typeface="Geneva"/>
        </a:defRPr>
      </a:lvl4pPr>
      <a:lvl5pPr marL="2314575" indent="-257175" algn="l" defTabSz="51435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300" kern="1200">
          <a:solidFill>
            <a:schemeClr val="tx1"/>
          </a:solidFill>
          <a:latin typeface="+mn-lt"/>
          <a:ea typeface="Geneva" charset="0"/>
          <a:cs typeface="Geneva"/>
        </a:defRPr>
      </a:lvl5pPr>
      <a:lvl6pPr marL="2829176" indent="-257198" algn="l" defTabSz="514396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43572" indent="-257198" algn="l" defTabSz="514396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57968" indent="-257198" algn="l" defTabSz="514396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72364" indent="-257198" algn="l" defTabSz="514396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9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96" algn="l" defTabSz="51439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8791" algn="l" defTabSz="51439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43187" algn="l" defTabSz="51439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83" algn="l" defTabSz="51439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71979" algn="l" defTabSz="51439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86374" algn="l" defTabSz="51439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770" algn="l" defTabSz="51439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15166" algn="l" defTabSz="51439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image" Target="../media/image6.png"/><Relationship Id="rId7" Type="http://schemas.openxmlformats.org/officeDocument/2006/relationships/diagramLayout" Target="../diagrams/layout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2.xml"/><Relationship Id="rId11" Type="http://schemas.openxmlformats.org/officeDocument/2006/relationships/image" Target="../media/image8.png"/><Relationship Id="rId5" Type="http://schemas.openxmlformats.org/officeDocument/2006/relationships/image" Target="../media/image9.png"/><Relationship Id="rId10" Type="http://schemas.microsoft.com/office/2007/relationships/diagramDrawing" Target="../diagrams/drawing2.xml"/><Relationship Id="rId4" Type="http://schemas.openxmlformats.org/officeDocument/2006/relationships/image" Target="../media/image3.png"/><Relationship Id="rId9" Type="http://schemas.openxmlformats.org/officeDocument/2006/relationships/diagramColors" Target="../diagrams/colors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1.xml"/><Relationship Id="rId5" Type="http://schemas.openxmlformats.org/officeDocument/2006/relationships/image" Target="../media/image9.png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8.png"/><Relationship Id="rId3" Type="http://schemas.openxmlformats.org/officeDocument/2006/relationships/tags" Target="../tags/tag3.xml"/><Relationship Id="rId7" Type="http://schemas.openxmlformats.org/officeDocument/2006/relationships/notesSlide" Target="../notesSlides/notesSlide12.xml"/><Relationship Id="rId12" Type="http://schemas.openxmlformats.org/officeDocument/2006/relationships/chart" Target="../charts/chart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7.xml"/><Relationship Id="rId11" Type="http://schemas.openxmlformats.org/officeDocument/2006/relationships/chart" Target="../charts/chart2.xml"/><Relationship Id="rId5" Type="http://schemas.openxmlformats.org/officeDocument/2006/relationships/tags" Target="../tags/tag5.xml"/><Relationship Id="rId10" Type="http://schemas.openxmlformats.org/officeDocument/2006/relationships/image" Target="../media/image9.png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4.xml"/><Relationship Id="rId5" Type="http://schemas.openxmlformats.org/officeDocument/2006/relationships/image" Target="../media/image9.png"/><Relationship Id="rId4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image" Target="../media/image6.png"/><Relationship Id="rId7" Type="http://schemas.openxmlformats.org/officeDocument/2006/relationships/diagramLayout" Target="../diagrams/layout3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3.xml"/><Relationship Id="rId11" Type="http://schemas.openxmlformats.org/officeDocument/2006/relationships/image" Target="../media/image8.png"/><Relationship Id="rId5" Type="http://schemas.openxmlformats.org/officeDocument/2006/relationships/image" Target="../media/image9.png"/><Relationship Id="rId10" Type="http://schemas.microsoft.com/office/2007/relationships/diagramDrawing" Target="../diagrams/drawing3.xml"/><Relationship Id="rId4" Type="http://schemas.openxmlformats.org/officeDocument/2006/relationships/image" Target="../media/image3.png"/><Relationship Id="rId9" Type="http://schemas.openxmlformats.org/officeDocument/2006/relationships/diagramColors" Target="../diagrams/colors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image" Target="../media/image3.png"/><Relationship Id="rId7" Type="http://schemas.openxmlformats.org/officeDocument/2006/relationships/diagramLayout" Target="../diagrams/layout4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4.xml"/><Relationship Id="rId11" Type="http://schemas.openxmlformats.org/officeDocument/2006/relationships/image" Target="../media/image8.png"/><Relationship Id="rId5" Type="http://schemas.openxmlformats.org/officeDocument/2006/relationships/image" Target="../media/image10.emf"/><Relationship Id="rId10" Type="http://schemas.microsoft.com/office/2007/relationships/diagramDrawing" Target="../diagrams/drawing4.xml"/><Relationship Id="rId4" Type="http://schemas.openxmlformats.org/officeDocument/2006/relationships/image" Target="../media/image6.png"/><Relationship Id="rId9" Type="http://schemas.openxmlformats.org/officeDocument/2006/relationships/diagramColors" Target="../diagrams/colors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image" Target="../media/image3.png"/><Relationship Id="rId7" Type="http://schemas.openxmlformats.org/officeDocument/2006/relationships/diagramLayout" Target="../diagrams/layout5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5.xml"/><Relationship Id="rId11" Type="http://schemas.openxmlformats.org/officeDocument/2006/relationships/image" Target="../media/image8.png"/><Relationship Id="rId5" Type="http://schemas.openxmlformats.org/officeDocument/2006/relationships/image" Target="../media/image10.emf"/><Relationship Id="rId10" Type="http://schemas.microsoft.com/office/2007/relationships/diagramDrawing" Target="../diagrams/drawing5.xml"/><Relationship Id="rId4" Type="http://schemas.openxmlformats.org/officeDocument/2006/relationships/image" Target="../media/image6.png"/><Relationship Id="rId9" Type="http://schemas.openxmlformats.org/officeDocument/2006/relationships/diagramColors" Target="../diagrams/colors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3" Type="http://schemas.openxmlformats.org/officeDocument/2006/relationships/image" Target="../media/image3.png"/><Relationship Id="rId7" Type="http://schemas.openxmlformats.org/officeDocument/2006/relationships/diagramLayout" Target="../diagrams/layout6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6.xml"/><Relationship Id="rId11" Type="http://schemas.openxmlformats.org/officeDocument/2006/relationships/image" Target="../media/image8.png"/><Relationship Id="rId5" Type="http://schemas.openxmlformats.org/officeDocument/2006/relationships/image" Target="../media/image10.emf"/><Relationship Id="rId10" Type="http://schemas.microsoft.com/office/2007/relationships/diagramDrawing" Target="../diagrams/drawing6.xml"/><Relationship Id="rId4" Type="http://schemas.openxmlformats.org/officeDocument/2006/relationships/image" Target="../media/image6.png"/><Relationship Id="rId9" Type="http://schemas.openxmlformats.org/officeDocument/2006/relationships/diagramColors" Target="../diagrams/colors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7.xml"/><Relationship Id="rId3" Type="http://schemas.openxmlformats.org/officeDocument/2006/relationships/image" Target="../media/image3.png"/><Relationship Id="rId7" Type="http://schemas.openxmlformats.org/officeDocument/2006/relationships/diagramLayout" Target="../diagrams/layout7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7.xml"/><Relationship Id="rId11" Type="http://schemas.openxmlformats.org/officeDocument/2006/relationships/image" Target="../media/image8.png"/><Relationship Id="rId5" Type="http://schemas.openxmlformats.org/officeDocument/2006/relationships/image" Target="../media/image10.emf"/><Relationship Id="rId10" Type="http://schemas.microsoft.com/office/2007/relationships/diagramDrawing" Target="../diagrams/drawing7.xml"/><Relationship Id="rId4" Type="http://schemas.openxmlformats.org/officeDocument/2006/relationships/image" Target="../media/image6.png"/><Relationship Id="rId9" Type="http://schemas.openxmlformats.org/officeDocument/2006/relationships/diagramColors" Target="../diagrams/colors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8.xml"/><Relationship Id="rId3" Type="http://schemas.openxmlformats.org/officeDocument/2006/relationships/image" Target="../media/image3.png"/><Relationship Id="rId7" Type="http://schemas.openxmlformats.org/officeDocument/2006/relationships/diagramLayout" Target="../diagrams/layout8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8.xml"/><Relationship Id="rId11" Type="http://schemas.openxmlformats.org/officeDocument/2006/relationships/image" Target="../media/image8.png"/><Relationship Id="rId5" Type="http://schemas.openxmlformats.org/officeDocument/2006/relationships/image" Target="../media/image10.emf"/><Relationship Id="rId10" Type="http://schemas.microsoft.com/office/2007/relationships/diagramDrawing" Target="../diagrams/drawing8.xml"/><Relationship Id="rId4" Type="http://schemas.openxmlformats.org/officeDocument/2006/relationships/image" Target="../media/image6.png"/><Relationship Id="rId9" Type="http://schemas.openxmlformats.org/officeDocument/2006/relationships/diagramColors" Target="../diagrams/colors8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9.xml"/><Relationship Id="rId3" Type="http://schemas.openxmlformats.org/officeDocument/2006/relationships/image" Target="../media/image3.png"/><Relationship Id="rId7" Type="http://schemas.openxmlformats.org/officeDocument/2006/relationships/diagramLayout" Target="../diagrams/layout9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9.xml"/><Relationship Id="rId11" Type="http://schemas.openxmlformats.org/officeDocument/2006/relationships/image" Target="../media/image8.png"/><Relationship Id="rId5" Type="http://schemas.openxmlformats.org/officeDocument/2006/relationships/image" Target="../media/image10.emf"/><Relationship Id="rId10" Type="http://schemas.microsoft.com/office/2007/relationships/diagramDrawing" Target="../diagrams/drawing9.xml"/><Relationship Id="rId4" Type="http://schemas.openxmlformats.org/officeDocument/2006/relationships/image" Target="../media/image6.png"/><Relationship Id="rId9" Type="http://schemas.openxmlformats.org/officeDocument/2006/relationships/diagramColors" Target="../diagrams/colors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0.xml"/><Relationship Id="rId3" Type="http://schemas.openxmlformats.org/officeDocument/2006/relationships/image" Target="../media/image3.png"/><Relationship Id="rId7" Type="http://schemas.openxmlformats.org/officeDocument/2006/relationships/diagramLayout" Target="../diagrams/layout10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10.xml"/><Relationship Id="rId11" Type="http://schemas.openxmlformats.org/officeDocument/2006/relationships/image" Target="../media/image8.png"/><Relationship Id="rId5" Type="http://schemas.openxmlformats.org/officeDocument/2006/relationships/image" Target="../media/image10.emf"/><Relationship Id="rId10" Type="http://schemas.microsoft.com/office/2007/relationships/diagramDrawing" Target="../diagrams/drawing10.xml"/><Relationship Id="rId4" Type="http://schemas.openxmlformats.org/officeDocument/2006/relationships/image" Target="../media/image6.png"/><Relationship Id="rId9" Type="http://schemas.openxmlformats.org/officeDocument/2006/relationships/diagramColors" Target="../diagrams/colors1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1.xml"/><Relationship Id="rId3" Type="http://schemas.openxmlformats.org/officeDocument/2006/relationships/image" Target="../media/image3.png"/><Relationship Id="rId7" Type="http://schemas.openxmlformats.org/officeDocument/2006/relationships/diagramLayout" Target="../diagrams/layout11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11.xml"/><Relationship Id="rId11" Type="http://schemas.openxmlformats.org/officeDocument/2006/relationships/image" Target="../media/image8.png"/><Relationship Id="rId5" Type="http://schemas.openxmlformats.org/officeDocument/2006/relationships/image" Target="../media/image10.emf"/><Relationship Id="rId10" Type="http://schemas.microsoft.com/office/2007/relationships/diagramDrawing" Target="../diagrams/drawing11.xml"/><Relationship Id="rId4" Type="http://schemas.openxmlformats.org/officeDocument/2006/relationships/image" Target="../media/image6.png"/><Relationship Id="rId9" Type="http://schemas.openxmlformats.org/officeDocument/2006/relationships/diagramColors" Target="../diagrams/colors1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2.xml"/><Relationship Id="rId3" Type="http://schemas.openxmlformats.org/officeDocument/2006/relationships/image" Target="../media/image3.png"/><Relationship Id="rId7" Type="http://schemas.openxmlformats.org/officeDocument/2006/relationships/diagramLayout" Target="../diagrams/layout12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12.xml"/><Relationship Id="rId11" Type="http://schemas.openxmlformats.org/officeDocument/2006/relationships/image" Target="../media/image8.png"/><Relationship Id="rId5" Type="http://schemas.openxmlformats.org/officeDocument/2006/relationships/image" Target="../media/image10.emf"/><Relationship Id="rId10" Type="http://schemas.microsoft.com/office/2007/relationships/diagramDrawing" Target="../diagrams/drawing12.xml"/><Relationship Id="rId4" Type="http://schemas.openxmlformats.org/officeDocument/2006/relationships/image" Target="../media/image6.png"/><Relationship Id="rId9" Type="http://schemas.openxmlformats.org/officeDocument/2006/relationships/diagramColors" Target="../diagrams/colors1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3.xml"/><Relationship Id="rId3" Type="http://schemas.openxmlformats.org/officeDocument/2006/relationships/image" Target="../media/image3.png"/><Relationship Id="rId7" Type="http://schemas.openxmlformats.org/officeDocument/2006/relationships/diagramLayout" Target="../diagrams/layout13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13.xml"/><Relationship Id="rId11" Type="http://schemas.openxmlformats.org/officeDocument/2006/relationships/image" Target="../media/image8.png"/><Relationship Id="rId5" Type="http://schemas.openxmlformats.org/officeDocument/2006/relationships/image" Target="../media/image10.emf"/><Relationship Id="rId10" Type="http://schemas.microsoft.com/office/2007/relationships/diagramDrawing" Target="../diagrams/drawing13.xml"/><Relationship Id="rId4" Type="http://schemas.openxmlformats.org/officeDocument/2006/relationships/image" Target="../media/image6.png"/><Relationship Id="rId9" Type="http://schemas.openxmlformats.org/officeDocument/2006/relationships/diagramColors" Target="../diagrams/colors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3.png"/><Relationship Id="rId7" Type="http://schemas.openxmlformats.org/officeDocument/2006/relationships/diagramLayout" Target="../diagrams/layou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1.xml"/><Relationship Id="rId11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microsoft.com/office/2007/relationships/diagramDrawing" Target="../diagrams/drawing1.xml"/><Relationship Id="rId4" Type="http://schemas.openxmlformats.org/officeDocument/2006/relationships/image" Target="../media/image6.png"/><Relationship Id="rId9" Type="http://schemas.openxmlformats.org/officeDocument/2006/relationships/diagramColors" Target="../diagrams/colors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4.xml"/><Relationship Id="rId3" Type="http://schemas.openxmlformats.org/officeDocument/2006/relationships/image" Target="../media/image3.png"/><Relationship Id="rId7" Type="http://schemas.openxmlformats.org/officeDocument/2006/relationships/diagramLayout" Target="../diagrams/layout14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14.xml"/><Relationship Id="rId11" Type="http://schemas.openxmlformats.org/officeDocument/2006/relationships/image" Target="../media/image8.png"/><Relationship Id="rId5" Type="http://schemas.openxmlformats.org/officeDocument/2006/relationships/image" Target="../media/image10.emf"/><Relationship Id="rId10" Type="http://schemas.microsoft.com/office/2007/relationships/diagramDrawing" Target="../diagrams/drawing14.xml"/><Relationship Id="rId4" Type="http://schemas.openxmlformats.org/officeDocument/2006/relationships/image" Target="../media/image6.png"/><Relationship Id="rId9" Type="http://schemas.openxmlformats.org/officeDocument/2006/relationships/diagramColors" Target="../diagrams/colors14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5.xml"/><Relationship Id="rId3" Type="http://schemas.openxmlformats.org/officeDocument/2006/relationships/image" Target="../media/image3.png"/><Relationship Id="rId7" Type="http://schemas.openxmlformats.org/officeDocument/2006/relationships/diagramLayout" Target="../diagrams/layout15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15.xml"/><Relationship Id="rId11" Type="http://schemas.openxmlformats.org/officeDocument/2006/relationships/image" Target="../media/image8.png"/><Relationship Id="rId5" Type="http://schemas.openxmlformats.org/officeDocument/2006/relationships/image" Target="../media/image10.emf"/><Relationship Id="rId10" Type="http://schemas.microsoft.com/office/2007/relationships/diagramDrawing" Target="../diagrams/drawing15.xml"/><Relationship Id="rId4" Type="http://schemas.openxmlformats.org/officeDocument/2006/relationships/image" Target="../media/image6.png"/><Relationship Id="rId9" Type="http://schemas.openxmlformats.org/officeDocument/2006/relationships/diagramColors" Target="../diagrams/colors15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6.xml"/><Relationship Id="rId3" Type="http://schemas.openxmlformats.org/officeDocument/2006/relationships/image" Target="../media/image3.png"/><Relationship Id="rId7" Type="http://schemas.openxmlformats.org/officeDocument/2006/relationships/diagramLayout" Target="../diagrams/layout16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16.xml"/><Relationship Id="rId11" Type="http://schemas.openxmlformats.org/officeDocument/2006/relationships/image" Target="../media/image8.png"/><Relationship Id="rId5" Type="http://schemas.openxmlformats.org/officeDocument/2006/relationships/image" Target="../media/image10.emf"/><Relationship Id="rId10" Type="http://schemas.microsoft.com/office/2007/relationships/diagramDrawing" Target="../diagrams/drawing16.xml"/><Relationship Id="rId4" Type="http://schemas.openxmlformats.org/officeDocument/2006/relationships/image" Target="../media/image6.png"/><Relationship Id="rId9" Type="http://schemas.openxmlformats.org/officeDocument/2006/relationships/diagramColors" Target="../diagrams/colors1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7.xml"/><Relationship Id="rId3" Type="http://schemas.openxmlformats.org/officeDocument/2006/relationships/image" Target="../media/image3.png"/><Relationship Id="rId7" Type="http://schemas.openxmlformats.org/officeDocument/2006/relationships/diagramLayout" Target="../diagrams/layout17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17.xml"/><Relationship Id="rId11" Type="http://schemas.openxmlformats.org/officeDocument/2006/relationships/image" Target="../media/image8.png"/><Relationship Id="rId5" Type="http://schemas.openxmlformats.org/officeDocument/2006/relationships/image" Target="../media/image24.png"/><Relationship Id="rId10" Type="http://schemas.microsoft.com/office/2007/relationships/diagramDrawing" Target="../diagrams/drawing17.xml"/><Relationship Id="rId4" Type="http://schemas.openxmlformats.org/officeDocument/2006/relationships/image" Target="../media/image6.png"/><Relationship Id="rId9" Type="http://schemas.openxmlformats.org/officeDocument/2006/relationships/diagramColors" Target="../diagrams/colors1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24.png"/><Relationship Id="rId4" Type="http://schemas.openxmlformats.org/officeDocument/2006/relationships/image" Target="../media/image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24.png"/><Relationship Id="rId4" Type="http://schemas.openxmlformats.org/officeDocument/2006/relationships/image" Target="../media/image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5.xml"/><Relationship Id="rId5" Type="http://schemas.openxmlformats.org/officeDocument/2006/relationships/image" Target="../media/image24.png"/><Relationship Id="rId4" Type="http://schemas.openxmlformats.org/officeDocument/2006/relationships/image" Target="../media/image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6.xml"/><Relationship Id="rId5" Type="http://schemas.openxmlformats.org/officeDocument/2006/relationships/image" Target="../media/image24.png"/><Relationship Id="rId4" Type="http://schemas.openxmlformats.org/officeDocument/2006/relationships/image" Target="../media/image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24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24.png"/><Relationship Id="rId4" Type="http://schemas.openxmlformats.org/officeDocument/2006/relationships/image" Target="../media/image6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24.png"/><Relationship Id="rId4" Type="http://schemas.openxmlformats.org/officeDocument/2006/relationships/image" Target="../media/image6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24.png"/><Relationship Id="rId4" Type="http://schemas.openxmlformats.org/officeDocument/2006/relationships/image" Target="../media/image6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24.png"/><Relationship Id="rId4" Type="http://schemas.openxmlformats.org/officeDocument/2006/relationships/image" Target="../media/image6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24.png"/><Relationship Id="rId4" Type="http://schemas.openxmlformats.org/officeDocument/2006/relationships/image" Target="../media/image6.png"/></Relationships>
</file>

<file path=ppt/slides/_rels/slide4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8.xml"/><Relationship Id="rId13" Type="http://schemas.microsoft.com/office/2007/relationships/diagramDrawing" Target="../diagrams/drawing19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18.xml"/><Relationship Id="rId12" Type="http://schemas.openxmlformats.org/officeDocument/2006/relationships/diagramColors" Target="../diagrams/colors19.xm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8.xml"/><Relationship Id="rId11" Type="http://schemas.openxmlformats.org/officeDocument/2006/relationships/diagramQuickStyle" Target="../diagrams/quickStyle19.xml"/><Relationship Id="rId5" Type="http://schemas.openxmlformats.org/officeDocument/2006/relationships/diagramLayout" Target="../diagrams/layout18.xml"/><Relationship Id="rId10" Type="http://schemas.openxmlformats.org/officeDocument/2006/relationships/diagramLayout" Target="../diagrams/layout19.xml"/><Relationship Id="rId4" Type="http://schemas.openxmlformats.org/officeDocument/2006/relationships/diagramData" Target="../diagrams/data18.xml"/><Relationship Id="rId9" Type="http://schemas.openxmlformats.org/officeDocument/2006/relationships/diagramData" Target="../diagrams/data19.xml"/><Relationship Id="rId14" Type="http://schemas.openxmlformats.org/officeDocument/2006/relationships/image" Target="../media/image8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pSp>
        <p:nvGrpSpPr>
          <p:cNvPr id="2" name="Group 1"/>
          <p:cNvGrpSpPr>
            <a:grpSpLocks/>
          </p:cNvGrpSpPr>
          <p:nvPr/>
        </p:nvGrpSpPr>
        <p:grpSpPr bwMode="auto">
          <a:xfrm>
            <a:off x="2179638" y="1035050"/>
            <a:ext cx="8286750" cy="5680075"/>
            <a:chOff x="2179638" y="1035050"/>
            <a:chExt cx="8286750" cy="5680075"/>
          </a:xfrm>
        </p:grpSpPr>
        <p:pic>
          <p:nvPicPr>
            <p:cNvPr id="15363" name="Picture 7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3136900" y="1035050"/>
              <a:ext cx="4203700" cy="24257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364" name="Picture 8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2179638" y="3689350"/>
              <a:ext cx="4978400" cy="889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365" name="Text Box 5"/>
            <p:cNvSpPr txBox="1">
              <a:spLocks noChangeArrowheads="1"/>
            </p:cNvSpPr>
            <p:nvPr/>
          </p:nvSpPr>
          <p:spPr bwMode="auto">
            <a:xfrm>
              <a:off x="5260975" y="5403850"/>
              <a:ext cx="5205413" cy="1311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914400"/>
              <a:r>
                <a:rPr lang="pt-PT">
                  <a:solidFill>
                    <a:schemeClr val="bg1"/>
                  </a:solidFill>
                  <a:latin typeface="Arial" charset="0"/>
                </a:rPr>
                <a:t>O COMPETE e as Prioridades de Inovação, </a:t>
              </a:r>
            </a:p>
            <a:p>
              <a:pPr defTabSz="914400"/>
              <a:r>
                <a:rPr lang="pt-PT">
                  <a:solidFill>
                    <a:schemeClr val="bg1"/>
                  </a:solidFill>
                  <a:latin typeface="Arial" charset="0"/>
                </a:rPr>
                <a:t>Empreendedorismo e Competitividade</a:t>
              </a:r>
            </a:p>
            <a:p>
              <a:pPr defTabSz="914400"/>
              <a:endParaRPr lang="pt-PT">
                <a:solidFill>
                  <a:schemeClr val="bg1"/>
                </a:solidFill>
                <a:latin typeface="Arial" charset="0"/>
              </a:endParaRPr>
            </a:p>
            <a:p>
              <a:pPr defTabSz="914400"/>
              <a:r>
                <a:rPr lang="pt-PT">
                  <a:solidFill>
                    <a:schemeClr val="bg1"/>
                  </a:solidFill>
                  <a:latin typeface="Arial" charset="0"/>
                </a:rPr>
                <a:t>Aveiro | 18 dezembro 2012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32770" name="Picture 17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771" name="Picture 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rot="1086495">
            <a:off x="-2011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772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520700" y="-114300"/>
            <a:ext cx="4011613" cy="655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1915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6" name="TextBox 26"/>
          <p:cNvSpPr txBox="1">
            <a:spLocks noChangeArrowheads="1"/>
          </p:cNvSpPr>
          <p:nvPr/>
        </p:nvSpPr>
        <p:spPr bwMode="auto">
          <a:xfrm>
            <a:off x="2667000" y="987425"/>
            <a:ext cx="7829550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tr-TR" sz="2800" b="1">
                <a:solidFill>
                  <a:srgbClr val="76A606"/>
                </a:solidFill>
                <a:latin typeface="Arial" charset="0"/>
                <a:cs typeface="Arial" charset="0"/>
              </a:rPr>
              <a:t>B. PROJETOS I&amp;DT EM REDE</a:t>
            </a:r>
            <a:r>
              <a:rPr lang="pt-PT" sz="2800" b="1">
                <a:solidFill>
                  <a:srgbClr val="76A606"/>
                </a:solidFill>
                <a:latin typeface="Arial" charset="0"/>
                <a:cs typeface="Arial" charset="0"/>
              </a:rPr>
              <a:t>/COLETIVA</a:t>
            </a:r>
            <a:endParaRPr lang="tr-TR" sz="2800" b="1">
              <a:solidFill>
                <a:srgbClr val="76A606"/>
              </a:solidFill>
              <a:latin typeface="Arial" charset="0"/>
              <a:cs typeface="Arial" charset="0"/>
            </a:endParaRPr>
          </a:p>
          <a:p>
            <a:endParaRPr lang="tr-TR" sz="2800" b="1">
              <a:solidFill>
                <a:srgbClr val="739002"/>
              </a:solidFill>
              <a:latin typeface="Arial" charset="0"/>
              <a:cs typeface="Arial" charset="0"/>
            </a:endParaRPr>
          </a:p>
          <a:p>
            <a:endParaRPr lang="tr-TR" b="1">
              <a:solidFill>
                <a:srgbClr val="739002"/>
              </a:solidFill>
              <a:latin typeface="Arial" charset="0"/>
              <a:cs typeface="Arial" charset="0"/>
            </a:endParaRPr>
          </a:p>
          <a:p>
            <a:endParaRPr lang="en-US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grpSp>
        <p:nvGrpSpPr>
          <p:cNvPr id="32776" name="Group 4"/>
          <p:cNvGrpSpPr>
            <a:grpSpLocks/>
          </p:cNvGrpSpPr>
          <p:nvPr/>
        </p:nvGrpSpPr>
        <p:grpSpPr bwMode="auto">
          <a:xfrm>
            <a:off x="3662363" y="1868488"/>
            <a:ext cx="7356475" cy="4899025"/>
            <a:chOff x="3443661" y="1768208"/>
            <a:chExt cx="7717604" cy="5088441"/>
          </a:xfrm>
        </p:grpSpPr>
        <p:sp>
          <p:nvSpPr>
            <p:cNvPr id="32777" name="TextBox 23"/>
            <p:cNvSpPr txBox="1">
              <a:spLocks noChangeArrowheads="1"/>
            </p:cNvSpPr>
            <p:nvPr/>
          </p:nvSpPr>
          <p:spPr bwMode="auto">
            <a:xfrm>
              <a:off x="3985765" y="3486309"/>
              <a:ext cx="7175500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endParaRPr lang="pt-PT" b="1">
                <a:solidFill>
                  <a:schemeClr val="bg1"/>
                </a:solidFill>
                <a:latin typeface="Arial" charset="0"/>
                <a:cs typeface="Arial" charset="0"/>
              </a:endParaRPr>
            </a:p>
          </p:txBody>
        </p:sp>
        <p:grpSp>
          <p:nvGrpSpPr>
            <p:cNvPr id="32778" name="Group 3"/>
            <p:cNvGrpSpPr>
              <a:grpSpLocks/>
            </p:cNvGrpSpPr>
            <p:nvPr/>
          </p:nvGrpSpPr>
          <p:grpSpPr bwMode="auto">
            <a:xfrm>
              <a:off x="3986592" y="2246383"/>
              <a:ext cx="4814759" cy="4193099"/>
              <a:chOff x="3740394" y="2116759"/>
              <a:chExt cx="4814759" cy="4193099"/>
            </a:xfrm>
          </p:grpSpPr>
          <p:grpSp>
            <p:nvGrpSpPr>
              <p:cNvPr id="32783" name="Group 39"/>
              <p:cNvGrpSpPr>
                <a:grpSpLocks/>
              </p:cNvGrpSpPr>
              <p:nvPr/>
            </p:nvGrpSpPr>
            <p:grpSpPr bwMode="auto">
              <a:xfrm>
                <a:off x="3990208" y="2327815"/>
                <a:ext cx="4261836" cy="3787474"/>
                <a:chOff x="2246370" y="1584262"/>
                <a:chExt cx="4622072" cy="4069466"/>
              </a:xfrm>
            </p:grpSpPr>
            <p:sp>
              <p:nvSpPr>
                <p:cNvPr id="41" name="Freeform 8"/>
                <p:cNvSpPr>
                  <a:spLocks/>
                </p:cNvSpPr>
                <p:nvPr/>
              </p:nvSpPr>
              <p:spPr bwMode="blackWhite">
                <a:xfrm>
                  <a:off x="3685911" y="4415351"/>
                  <a:ext cx="1739373" cy="1238379"/>
                </a:xfrm>
                <a:custGeom>
                  <a:avLst/>
                  <a:gdLst>
                    <a:gd name="T0" fmla="*/ 2147483647 w 857"/>
                    <a:gd name="T1" fmla="*/ 0 h 584"/>
                    <a:gd name="T2" fmla="*/ 2147483647 w 857"/>
                    <a:gd name="T3" fmla="*/ 0 h 584"/>
                    <a:gd name="T4" fmla="*/ 2147483647 w 857"/>
                    <a:gd name="T5" fmla="*/ 2147483647 h 584"/>
                    <a:gd name="T6" fmla="*/ 2147483647 w 857"/>
                    <a:gd name="T7" fmla="*/ 2147483647 h 584"/>
                    <a:gd name="T8" fmla="*/ 2147483647 w 857"/>
                    <a:gd name="T9" fmla="*/ 2147483647 h 584"/>
                    <a:gd name="T10" fmla="*/ 0 w 857"/>
                    <a:gd name="T11" fmla="*/ 2147483647 h 584"/>
                    <a:gd name="T12" fmla="*/ 2147483647 w 857"/>
                    <a:gd name="T13" fmla="*/ 0 h 58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57"/>
                    <a:gd name="T22" fmla="*/ 0 h 584"/>
                    <a:gd name="T23" fmla="*/ 857 w 857"/>
                    <a:gd name="T24" fmla="*/ 584 h 58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57" h="584">
                      <a:moveTo>
                        <a:pt x="224" y="0"/>
                      </a:moveTo>
                      <a:lnTo>
                        <a:pt x="648" y="0"/>
                      </a:lnTo>
                      <a:lnTo>
                        <a:pt x="856" y="295"/>
                      </a:lnTo>
                      <a:lnTo>
                        <a:pt x="648" y="583"/>
                      </a:lnTo>
                      <a:lnTo>
                        <a:pt x="224" y="583"/>
                      </a:lnTo>
                      <a:lnTo>
                        <a:pt x="0" y="295"/>
                      </a:lnTo>
                      <a:lnTo>
                        <a:pt x="224" y="0"/>
                      </a:lnTo>
                    </a:path>
                  </a:pathLst>
                </a:custGeom>
                <a:solidFill>
                  <a:schemeClr val="accent3">
                    <a:lumMod val="75000"/>
                    <a:alpha val="80000"/>
                  </a:schemeClr>
                </a:solidFill>
                <a:ln w="12700" cap="rnd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en-GB" sz="1400" b="1" dirty="0">
                    <a:solidFill>
                      <a:schemeClr val="bg1"/>
                    </a:solidFill>
                    <a:latin typeface="Arial"/>
                    <a:ea typeface="Geneva" charset="0"/>
                    <a:cs typeface="Arial"/>
                  </a:endParaRPr>
                </a:p>
              </p:txBody>
            </p:sp>
            <p:grpSp>
              <p:nvGrpSpPr>
                <p:cNvPr id="32786" name="Group 41"/>
                <p:cNvGrpSpPr>
                  <a:grpSpLocks/>
                </p:cNvGrpSpPr>
                <p:nvPr/>
              </p:nvGrpSpPr>
              <p:grpSpPr bwMode="auto">
                <a:xfrm>
                  <a:off x="2246370" y="1584262"/>
                  <a:ext cx="4622072" cy="3571787"/>
                  <a:chOff x="2246370" y="1584262"/>
                  <a:chExt cx="4622072" cy="3571787"/>
                </a:xfrm>
              </p:grpSpPr>
              <p:sp>
                <p:nvSpPr>
                  <p:cNvPr id="43" name="Freeform 2"/>
                  <p:cNvSpPr>
                    <a:spLocks/>
                  </p:cNvSpPr>
                  <p:nvPr/>
                </p:nvSpPr>
                <p:spPr bwMode="blackWhite">
                  <a:xfrm>
                    <a:off x="2246369" y="2296464"/>
                    <a:ext cx="1733954" cy="1238379"/>
                  </a:xfrm>
                  <a:custGeom>
                    <a:avLst/>
                    <a:gdLst>
                      <a:gd name="T0" fmla="*/ 2147483647 w 856"/>
                      <a:gd name="T1" fmla="*/ 0 h 584"/>
                      <a:gd name="T2" fmla="*/ 2147483647 w 856"/>
                      <a:gd name="T3" fmla="*/ 0 h 584"/>
                      <a:gd name="T4" fmla="*/ 2147483647 w 856"/>
                      <a:gd name="T5" fmla="*/ 2147483647 h 584"/>
                      <a:gd name="T6" fmla="*/ 2147483647 w 856"/>
                      <a:gd name="T7" fmla="*/ 2147483647 h 584"/>
                      <a:gd name="T8" fmla="*/ 2147483647 w 856"/>
                      <a:gd name="T9" fmla="*/ 2147483647 h 584"/>
                      <a:gd name="T10" fmla="*/ 0 w 856"/>
                      <a:gd name="T11" fmla="*/ 2147483647 h 584"/>
                      <a:gd name="T12" fmla="*/ 2147483647 w 856"/>
                      <a:gd name="T13" fmla="*/ 0 h 584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856"/>
                      <a:gd name="T22" fmla="*/ 0 h 584"/>
                      <a:gd name="T23" fmla="*/ 856 w 856"/>
                      <a:gd name="T24" fmla="*/ 584 h 584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856" h="584">
                        <a:moveTo>
                          <a:pt x="224" y="0"/>
                        </a:moveTo>
                        <a:lnTo>
                          <a:pt x="647" y="0"/>
                        </a:lnTo>
                        <a:lnTo>
                          <a:pt x="855" y="295"/>
                        </a:lnTo>
                        <a:lnTo>
                          <a:pt x="647" y="583"/>
                        </a:lnTo>
                        <a:lnTo>
                          <a:pt x="224" y="583"/>
                        </a:lnTo>
                        <a:lnTo>
                          <a:pt x="0" y="295"/>
                        </a:lnTo>
                        <a:lnTo>
                          <a:pt x="224" y="0"/>
                        </a:lnTo>
                      </a:path>
                    </a:pathLst>
                  </a:custGeom>
                  <a:solidFill>
                    <a:schemeClr val="accent3">
                      <a:lumMod val="75000"/>
                      <a:alpha val="80000"/>
                    </a:schemeClr>
                  </a:solidFill>
                  <a:ln w="12700" cap="rnd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GB" sz="1200" b="1" dirty="0">
                      <a:solidFill>
                        <a:schemeClr val="bg1"/>
                      </a:solidFill>
                      <a:latin typeface="Arial"/>
                      <a:ea typeface="Geneva" charset="0"/>
                      <a:cs typeface="Arial"/>
                    </a:endParaRPr>
                  </a:p>
                </p:txBody>
              </p:sp>
              <p:sp>
                <p:nvSpPr>
                  <p:cNvPr id="44" name="Freeform 3"/>
                  <p:cNvSpPr>
                    <a:spLocks/>
                  </p:cNvSpPr>
                  <p:nvPr/>
                </p:nvSpPr>
                <p:spPr bwMode="blackWhite">
                  <a:xfrm>
                    <a:off x="3685911" y="1584263"/>
                    <a:ext cx="1739373" cy="1238379"/>
                  </a:xfrm>
                  <a:custGeom>
                    <a:avLst/>
                    <a:gdLst>
                      <a:gd name="T0" fmla="*/ 2147483647 w 857"/>
                      <a:gd name="T1" fmla="*/ 0 h 584"/>
                      <a:gd name="T2" fmla="*/ 2147483647 w 857"/>
                      <a:gd name="T3" fmla="*/ 0 h 584"/>
                      <a:gd name="T4" fmla="*/ 2147483647 w 857"/>
                      <a:gd name="T5" fmla="*/ 2147483647 h 584"/>
                      <a:gd name="T6" fmla="*/ 2147483647 w 857"/>
                      <a:gd name="T7" fmla="*/ 2147483647 h 584"/>
                      <a:gd name="T8" fmla="*/ 2147483647 w 857"/>
                      <a:gd name="T9" fmla="*/ 2147483647 h 584"/>
                      <a:gd name="T10" fmla="*/ 0 w 857"/>
                      <a:gd name="T11" fmla="*/ 2147483647 h 584"/>
                      <a:gd name="T12" fmla="*/ 2147483647 w 857"/>
                      <a:gd name="T13" fmla="*/ 0 h 584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857"/>
                      <a:gd name="T22" fmla="*/ 0 h 584"/>
                      <a:gd name="T23" fmla="*/ 857 w 857"/>
                      <a:gd name="T24" fmla="*/ 584 h 584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857" h="584">
                        <a:moveTo>
                          <a:pt x="224" y="0"/>
                        </a:moveTo>
                        <a:lnTo>
                          <a:pt x="648" y="0"/>
                        </a:lnTo>
                        <a:lnTo>
                          <a:pt x="856" y="296"/>
                        </a:lnTo>
                        <a:lnTo>
                          <a:pt x="648" y="583"/>
                        </a:lnTo>
                        <a:lnTo>
                          <a:pt x="224" y="583"/>
                        </a:lnTo>
                        <a:lnTo>
                          <a:pt x="0" y="296"/>
                        </a:lnTo>
                        <a:lnTo>
                          <a:pt x="224" y="0"/>
                        </a:lnTo>
                      </a:path>
                    </a:pathLst>
                  </a:custGeom>
                  <a:solidFill>
                    <a:schemeClr val="accent3">
                      <a:lumMod val="75000"/>
                      <a:alpha val="80000"/>
                    </a:schemeClr>
                  </a:solidFill>
                  <a:ln w="12700" cap="rnd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GB" sz="1400" b="1" dirty="0">
                      <a:solidFill>
                        <a:schemeClr val="bg1"/>
                      </a:solidFill>
                      <a:latin typeface="Arial"/>
                      <a:ea typeface="Geneva" charset="0"/>
                      <a:cs typeface="Arial"/>
                    </a:endParaRPr>
                  </a:p>
                </p:txBody>
              </p:sp>
              <p:sp>
                <p:nvSpPr>
                  <p:cNvPr id="45" name="Freeform 4"/>
                  <p:cNvSpPr>
                    <a:spLocks/>
                  </p:cNvSpPr>
                  <p:nvPr/>
                </p:nvSpPr>
                <p:spPr bwMode="blackWhite">
                  <a:xfrm>
                    <a:off x="5132680" y="2296464"/>
                    <a:ext cx="1735760" cy="1238379"/>
                  </a:xfrm>
                  <a:custGeom>
                    <a:avLst/>
                    <a:gdLst>
                      <a:gd name="T0" fmla="*/ 2147483647 w 856"/>
                      <a:gd name="T1" fmla="*/ 0 h 584"/>
                      <a:gd name="T2" fmla="*/ 2147483647 w 856"/>
                      <a:gd name="T3" fmla="*/ 0 h 584"/>
                      <a:gd name="T4" fmla="*/ 2147483647 w 856"/>
                      <a:gd name="T5" fmla="*/ 2147483647 h 584"/>
                      <a:gd name="T6" fmla="*/ 2147483647 w 856"/>
                      <a:gd name="T7" fmla="*/ 2147483647 h 584"/>
                      <a:gd name="T8" fmla="*/ 2147483647 w 856"/>
                      <a:gd name="T9" fmla="*/ 2147483647 h 584"/>
                      <a:gd name="T10" fmla="*/ 0 w 856"/>
                      <a:gd name="T11" fmla="*/ 2147483647 h 584"/>
                      <a:gd name="T12" fmla="*/ 2147483647 w 856"/>
                      <a:gd name="T13" fmla="*/ 0 h 584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856"/>
                      <a:gd name="T22" fmla="*/ 0 h 584"/>
                      <a:gd name="T23" fmla="*/ 856 w 856"/>
                      <a:gd name="T24" fmla="*/ 584 h 584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856" h="584">
                        <a:moveTo>
                          <a:pt x="224" y="0"/>
                        </a:moveTo>
                        <a:lnTo>
                          <a:pt x="647" y="0"/>
                        </a:lnTo>
                        <a:lnTo>
                          <a:pt x="855" y="295"/>
                        </a:lnTo>
                        <a:lnTo>
                          <a:pt x="647" y="583"/>
                        </a:lnTo>
                        <a:lnTo>
                          <a:pt x="224" y="583"/>
                        </a:lnTo>
                        <a:lnTo>
                          <a:pt x="0" y="295"/>
                        </a:lnTo>
                        <a:lnTo>
                          <a:pt x="224" y="0"/>
                        </a:lnTo>
                      </a:path>
                    </a:pathLst>
                  </a:custGeom>
                  <a:solidFill>
                    <a:schemeClr val="accent3">
                      <a:lumMod val="75000"/>
                      <a:alpha val="80000"/>
                    </a:schemeClr>
                  </a:solidFill>
                  <a:ln w="12700" cap="rnd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GB" sz="1400" b="1" dirty="0">
                      <a:solidFill>
                        <a:schemeClr val="bg1"/>
                      </a:solidFill>
                      <a:latin typeface="Arial"/>
                      <a:ea typeface="Geneva" charset="0"/>
                      <a:cs typeface="Arial"/>
                    </a:endParaRPr>
                  </a:p>
                </p:txBody>
              </p:sp>
              <p:sp>
                <p:nvSpPr>
                  <p:cNvPr id="46" name="Freeform 5"/>
                  <p:cNvSpPr>
                    <a:spLocks/>
                  </p:cNvSpPr>
                  <p:nvPr/>
                </p:nvSpPr>
                <p:spPr bwMode="blackWhite">
                  <a:xfrm>
                    <a:off x="2246369" y="3719094"/>
                    <a:ext cx="1733954" cy="1222435"/>
                  </a:xfrm>
                  <a:custGeom>
                    <a:avLst/>
                    <a:gdLst>
                      <a:gd name="T0" fmla="*/ 2147483647 w 856"/>
                      <a:gd name="T1" fmla="*/ 0 h 576"/>
                      <a:gd name="T2" fmla="*/ 2147483647 w 856"/>
                      <a:gd name="T3" fmla="*/ 0 h 576"/>
                      <a:gd name="T4" fmla="*/ 2147483647 w 856"/>
                      <a:gd name="T5" fmla="*/ 2147483647 h 576"/>
                      <a:gd name="T6" fmla="*/ 2147483647 w 856"/>
                      <a:gd name="T7" fmla="*/ 2147483647 h 576"/>
                      <a:gd name="T8" fmla="*/ 2147483647 w 856"/>
                      <a:gd name="T9" fmla="*/ 2147483647 h 576"/>
                      <a:gd name="T10" fmla="*/ 0 w 856"/>
                      <a:gd name="T11" fmla="*/ 2147483647 h 576"/>
                      <a:gd name="T12" fmla="*/ 2147483647 w 856"/>
                      <a:gd name="T13" fmla="*/ 0 h 57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856"/>
                      <a:gd name="T22" fmla="*/ 0 h 576"/>
                      <a:gd name="T23" fmla="*/ 856 w 856"/>
                      <a:gd name="T24" fmla="*/ 576 h 57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856" h="576">
                        <a:moveTo>
                          <a:pt x="224" y="0"/>
                        </a:moveTo>
                        <a:lnTo>
                          <a:pt x="647" y="0"/>
                        </a:lnTo>
                        <a:lnTo>
                          <a:pt x="855" y="288"/>
                        </a:lnTo>
                        <a:lnTo>
                          <a:pt x="647" y="575"/>
                        </a:lnTo>
                        <a:lnTo>
                          <a:pt x="224" y="575"/>
                        </a:lnTo>
                        <a:lnTo>
                          <a:pt x="0" y="288"/>
                        </a:lnTo>
                        <a:lnTo>
                          <a:pt x="224" y="0"/>
                        </a:lnTo>
                      </a:path>
                    </a:pathLst>
                  </a:custGeom>
                  <a:solidFill>
                    <a:schemeClr val="accent3">
                      <a:lumMod val="75000"/>
                      <a:alpha val="80000"/>
                    </a:schemeClr>
                  </a:solidFill>
                  <a:ln w="12700" cap="rnd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GB" sz="1400" b="1" dirty="0">
                      <a:solidFill>
                        <a:schemeClr val="bg1"/>
                      </a:solidFill>
                      <a:latin typeface="Arial"/>
                      <a:ea typeface="Geneva" charset="0"/>
                      <a:cs typeface="Arial"/>
                    </a:endParaRPr>
                  </a:p>
                </p:txBody>
              </p:sp>
              <p:sp>
                <p:nvSpPr>
                  <p:cNvPr id="32791" name="Freeform 6"/>
                  <p:cNvSpPr>
                    <a:spLocks/>
                  </p:cNvSpPr>
                  <p:nvPr/>
                </p:nvSpPr>
                <p:spPr bwMode="blackWhite">
                  <a:xfrm>
                    <a:off x="3686175" y="3007280"/>
                    <a:ext cx="1739900" cy="1239837"/>
                  </a:xfrm>
                  <a:custGeom>
                    <a:avLst/>
                    <a:gdLst>
                      <a:gd name="T0" fmla="*/ 2147483647 w 857"/>
                      <a:gd name="T1" fmla="*/ 0 h 585"/>
                      <a:gd name="T2" fmla="*/ 2147483647 w 857"/>
                      <a:gd name="T3" fmla="*/ 0 h 585"/>
                      <a:gd name="T4" fmla="*/ 2147483647 w 857"/>
                      <a:gd name="T5" fmla="*/ 2147483647 h 585"/>
                      <a:gd name="T6" fmla="*/ 2147483647 w 857"/>
                      <a:gd name="T7" fmla="*/ 2147483647 h 585"/>
                      <a:gd name="T8" fmla="*/ 2147483647 w 857"/>
                      <a:gd name="T9" fmla="*/ 2147483647 h 585"/>
                      <a:gd name="T10" fmla="*/ 0 w 857"/>
                      <a:gd name="T11" fmla="*/ 2147483647 h 585"/>
                      <a:gd name="T12" fmla="*/ 2147483647 w 857"/>
                      <a:gd name="T13" fmla="*/ 0 h 585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857"/>
                      <a:gd name="T22" fmla="*/ 0 h 585"/>
                      <a:gd name="T23" fmla="*/ 857 w 857"/>
                      <a:gd name="T24" fmla="*/ 585 h 585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857" h="585">
                        <a:moveTo>
                          <a:pt x="224" y="0"/>
                        </a:moveTo>
                        <a:lnTo>
                          <a:pt x="648" y="0"/>
                        </a:lnTo>
                        <a:lnTo>
                          <a:pt x="856" y="288"/>
                        </a:lnTo>
                        <a:lnTo>
                          <a:pt x="648" y="584"/>
                        </a:lnTo>
                        <a:lnTo>
                          <a:pt x="224" y="584"/>
                        </a:lnTo>
                        <a:lnTo>
                          <a:pt x="0" y="288"/>
                        </a:lnTo>
                        <a:lnTo>
                          <a:pt x="224" y="0"/>
                        </a:lnTo>
                      </a:path>
                    </a:pathLst>
                  </a:custGeom>
                  <a:solidFill>
                    <a:srgbClr val="76A606"/>
                  </a:solidFill>
                  <a:ln w="12700" cap="rnd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pt-PT"/>
                  </a:p>
                </p:txBody>
              </p:sp>
              <p:sp>
                <p:nvSpPr>
                  <p:cNvPr id="48" name="Freeform 7"/>
                  <p:cNvSpPr>
                    <a:spLocks/>
                  </p:cNvSpPr>
                  <p:nvPr/>
                </p:nvSpPr>
                <p:spPr bwMode="blackWhite">
                  <a:xfrm>
                    <a:off x="5132680" y="3719094"/>
                    <a:ext cx="1735760" cy="1222435"/>
                  </a:xfrm>
                  <a:custGeom>
                    <a:avLst/>
                    <a:gdLst>
                      <a:gd name="T0" fmla="*/ 2147483647 w 856"/>
                      <a:gd name="T1" fmla="*/ 0 h 576"/>
                      <a:gd name="T2" fmla="*/ 2147483647 w 856"/>
                      <a:gd name="T3" fmla="*/ 0 h 576"/>
                      <a:gd name="T4" fmla="*/ 2147483647 w 856"/>
                      <a:gd name="T5" fmla="*/ 2147483647 h 576"/>
                      <a:gd name="T6" fmla="*/ 2147483647 w 856"/>
                      <a:gd name="T7" fmla="*/ 2147483647 h 576"/>
                      <a:gd name="T8" fmla="*/ 2147483647 w 856"/>
                      <a:gd name="T9" fmla="*/ 2147483647 h 576"/>
                      <a:gd name="T10" fmla="*/ 0 w 856"/>
                      <a:gd name="T11" fmla="*/ 2147483647 h 576"/>
                      <a:gd name="T12" fmla="*/ 2147483647 w 856"/>
                      <a:gd name="T13" fmla="*/ 0 h 57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856"/>
                      <a:gd name="T22" fmla="*/ 0 h 576"/>
                      <a:gd name="T23" fmla="*/ 856 w 856"/>
                      <a:gd name="T24" fmla="*/ 576 h 576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856" h="576">
                        <a:moveTo>
                          <a:pt x="224" y="0"/>
                        </a:moveTo>
                        <a:lnTo>
                          <a:pt x="647" y="0"/>
                        </a:lnTo>
                        <a:lnTo>
                          <a:pt x="855" y="288"/>
                        </a:lnTo>
                        <a:lnTo>
                          <a:pt x="647" y="575"/>
                        </a:lnTo>
                        <a:lnTo>
                          <a:pt x="224" y="575"/>
                        </a:lnTo>
                        <a:lnTo>
                          <a:pt x="0" y="288"/>
                        </a:lnTo>
                        <a:lnTo>
                          <a:pt x="224" y="0"/>
                        </a:lnTo>
                      </a:path>
                    </a:pathLst>
                  </a:custGeom>
                  <a:solidFill>
                    <a:schemeClr val="accent3">
                      <a:lumMod val="75000"/>
                      <a:alpha val="80000"/>
                    </a:schemeClr>
                  </a:solidFill>
                  <a:ln w="12700" cap="rnd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GB" sz="900" b="1" dirty="0">
                      <a:solidFill>
                        <a:schemeClr val="bg1"/>
                      </a:solidFill>
                      <a:latin typeface="Arial"/>
                      <a:ea typeface="Geneva" charset="0"/>
                      <a:cs typeface="Arial"/>
                    </a:endParaRPr>
                  </a:p>
                </p:txBody>
              </p:sp>
              <p:sp>
                <p:nvSpPr>
                  <p:cNvPr id="32793" name="Text Box 10"/>
                  <p:cNvSpPr txBox="1">
                    <a:spLocks noChangeArrowheads="1"/>
                  </p:cNvSpPr>
                  <p:nvPr/>
                </p:nvSpPr>
                <p:spPr bwMode="gray">
                  <a:xfrm>
                    <a:off x="4004461" y="1959788"/>
                    <a:ext cx="1103335" cy="488432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 anchor="ctr" anchorCtr="1">
                    <a:spAutoFit/>
                  </a:bodyPr>
                  <a:lstStyle/>
                  <a:p>
                    <a:pPr algn="ctr">
                      <a:lnSpc>
                        <a:spcPct val="106000"/>
                      </a:lnSpc>
                      <a:buClr>
                        <a:schemeClr val="tx1"/>
                      </a:buClr>
                      <a:buFont typeface="Wingdings 2" pitchFamily="18" charset="2"/>
                      <a:buNone/>
                    </a:pPr>
                    <a:r>
                      <a:rPr lang="en-GB" sz="1400" b="1">
                        <a:solidFill>
                          <a:schemeClr val="bg1"/>
                        </a:solidFill>
                        <a:latin typeface="Arial" charset="0"/>
                        <a:cs typeface="Arial" charset="0"/>
                      </a:rPr>
                      <a:t>SISTEMA</a:t>
                    </a:r>
                  </a:p>
                  <a:p>
                    <a:pPr algn="ctr">
                      <a:lnSpc>
                        <a:spcPct val="106000"/>
                      </a:lnSpc>
                      <a:buClr>
                        <a:schemeClr val="tx1"/>
                      </a:buClr>
                      <a:buFont typeface="Wingdings 2" pitchFamily="18" charset="2"/>
                      <a:buNone/>
                    </a:pPr>
                    <a:r>
                      <a:rPr lang="en-GB" sz="1400" b="1">
                        <a:solidFill>
                          <a:schemeClr val="bg1"/>
                        </a:solidFill>
                        <a:latin typeface="Arial" charset="0"/>
                        <a:cs typeface="Arial" charset="0"/>
                      </a:rPr>
                      <a:t>CIENTÍFICO</a:t>
                    </a:r>
                  </a:p>
                </p:txBody>
              </p:sp>
              <p:sp>
                <p:nvSpPr>
                  <p:cNvPr id="32794" name="Text Box 11"/>
                  <p:cNvSpPr txBox="1">
                    <a:spLocks noChangeArrowheads="1"/>
                  </p:cNvSpPr>
                  <p:nvPr/>
                </p:nvSpPr>
                <p:spPr bwMode="gray">
                  <a:xfrm>
                    <a:off x="3984542" y="4912990"/>
                    <a:ext cx="1143172" cy="243059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 anchor="ctr" anchorCtr="1">
                    <a:spAutoFit/>
                  </a:bodyPr>
                  <a:lstStyle/>
                  <a:p>
                    <a:pPr algn="ctr">
                      <a:lnSpc>
                        <a:spcPct val="106000"/>
                      </a:lnSpc>
                      <a:buClr>
                        <a:schemeClr val="tx1"/>
                      </a:buClr>
                      <a:buFont typeface="Wingdings 2" pitchFamily="18" charset="2"/>
                      <a:buNone/>
                    </a:pPr>
                    <a:r>
                      <a:rPr lang="en-GB" sz="1400" b="1">
                        <a:solidFill>
                          <a:schemeClr val="bg1"/>
                        </a:solidFill>
                        <a:latin typeface="Arial" charset="0"/>
                        <a:cs typeface="Arial" charset="0"/>
                      </a:rPr>
                      <a:t>PARCEIROS</a:t>
                    </a:r>
                  </a:p>
                </p:txBody>
              </p:sp>
              <p:sp>
                <p:nvSpPr>
                  <p:cNvPr id="32795" name="Text Box 12"/>
                  <p:cNvSpPr txBox="1">
                    <a:spLocks noChangeArrowheads="1"/>
                  </p:cNvSpPr>
                  <p:nvPr/>
                </p:nvSpPr>
                <p:spPr bwMode="gray">
                  <a:xfrm>
                    <a:off x="4077267" y="3477795"/>
                    <a:ext cx="972009" cy="243242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 anchor="ctr" anchorCtr="1">
                    <a:spAutoFit/>
                  </a:bodyPr>
                  <a:lstStyle/>
                  <a:p>
                    <a:pPr algn="ctr">
                      <a:lnSpc>
                        <a:spcPct val="106000"/>
                      </a:lnSpc>
                      <a:buClr>
                        <a:schemeClr val="tx1"/>
                      </a:buClr>
                      <a:buFont typeface="Wingdings 2" pitchFamily="18" charset="2"/>
                      <a:buNone/>
                    </a:pPr>
                    <a:r>
                      <a:rPr lang="en-GB" sz="1400" b="1">
                        <a:solidFill>
                          <a:schemeClr val="bg1"/>
                        </a:solidFill>
                        <a:latin typeface="Arial" charset="0"/>
                        <a:cs typeface="Arial" charset="0"/>
                      </a:rPr>
                      <a:t>EMPRESA</a:t>
                    </a:r>
                  </a:p>
                </p:txBody>
              </p:sp>
              <p:sp>
                <p:nvSpPr>
                  <p:cNvPr id="32796" name="Text Box 13"/>
                  <p:cNvSpPr txBox="1">
                    <a:spLocks noChangeArrowheads="1"/>
                  </p:cNvSpPr>
                  <p:nvPr/>
                </p:nvSpPr>
                <p:spPr bwMode="gray">
                  <a:xfrm>
                    <a:off x="2347238" y="2803150"/>
                    <a:ext cx="1526945" cy="225698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 anchor="ctr" anchorCtr="1">
                    <a:spAutoFit/>
                  </a:bodyPr>
                  <a:lstStyle/>
                  <a:p>
                    <a:pPr algn="ctr">
                      <a:lnSpc>
                        <a:spcPct val="106000"/>
                      </a:lnSpc>
                      <a:buClr>
                        <a:schemeClr val="tx1"/>
                      </a:buClr>
                      <a:buFont typeface="Wingdings 2" pitchFamily="18" charset="2"/>
                      <a:buNone/>
                    </a:pPr>
                    <a:r>
                      <a:rPr lang="en-GB" sz="1300" b="1">
                        <a:solidFill>
                          <a:schemeClr val="bg1"/>
                        </a:solidFill>
                        <a:latin typeface="Arial" charset="0"/>
                        <a:cs typeface="Arial" charset="0"/>
                      </a:rPr>
                      <a:t>FORNECEDORES</a:t>
                    </a:r>
                  </a:p>
                </p:txBody>
              </p:sp>
              <p:sp>
                <p:nvSpPr>
                  <p:cNvPr id="32797" name="Text Box 14"/>
                  <p:cNvSpPr txBox="1">
                    <a:spLocks noChangeArrowheads="1"/>
                  </p:cNvSpPr>
                  <p:nvPr/>
                </p:nvSpPr>
                <p:spPr bwMode="gray">
                  <a:xfrm>
                    <a:off x="2629302" y="4208932"/>
                    <a:ext cx="962816" cy="243059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 anchor="ctr" anchorCtr="1">
                    <a:spAutoFit/>
                  </a:bodyPr>
                  <a:lstStyle/>
                  <a:p>
                    <a:pPr algn="ctr">
                      <a:lnSpc>
                        <a:spcPct val="106000"/>
                      </a:lnSpc>
                      <a:buClr>
                        <a:schemeClr val="tx1"/>
                      </a:buClr>
                      <a:buFont typeface="Wingdings 2" pitchFamily="18" charset="2"/>
                      <a:buNone/>
                    </a:pPr>
                    <a:r>
                      <a:rPr lang="en-GB" sz="1400" b="1">
                        <a:solidFill>
                          <a:schemeClr val="bg1"/>
                        </a:solidFill>
                        <a:latin typeface="Arial" charset="0"/>
                        <a:cs typeface="Arial" charset="0"/>
                      </a:rPr>
                      <a:t>CLIENTES</a:t>
                    </a:r>
                  </a:p>
                </p:txBody>
              </p:sp>
              <p:sp>
                <p:nvSpPr>
                  <p:cNvPr id="32798" name="Text Box 15"/>
                  <p:cNvSpPr txBox="1">
                    <a:spLocks noChangeArrowheads="1"/>
                  </p:cNvSpPr>
                  <p:nvPr/>
                </p:nvSpPr>
                <p:spPr bwMode="gray">
                  <a:xfrm>
                    <a:off x="5281421" y="2794469"/>
                    <a:ext cx="1438662" cy="243059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 anchor="ctr" anchorCtr="1">
                    <a:spAutoFit/>
                  </a:bodyPr>
                  <a:lstStyle/>
                  <a:p>
                    <a:pPr algn="ctr">
                      <a:lnSpc>
                        <a:spcPct val="106000"/>
                      </a:lnSpc>
                      <a:buClr>
                        <a:schemeClr val="tx1"/>
                      </a:buClr>
                      <a:buFont typeface="Wingdings 2" pitchFamily="18" charset="2"/>
                      <a:buNone/>
                    </a:pPr>
                    <a:r>
                      <a:rPr lang="en-GB" sz="1400" b="1">
                        <a:solidFill>
                          <a:schemeClr val="bg1"/>
                        </a:solidFill>
                        <a:latin typeface="Arial" charset="0"/>
                        <a:cs typeface="Arial" charset="0"/>
                      </a:rPr>
                      <a:t>UTILIZADORES</a:t>
                    </a:r>
                  </a:p>
                </p:txBody>
              </p:sp>
              <p:sp>
                <p:nvSpPr>
                  <p:cNvPr id="32799" name="Text Box 16"/>
                  <p:cNvSpPr txBox="1">
                    <a:spLocks noChangeArrowheads="1"/>
                  </p:cNvSpPr>
                  <p:nvPr/>
                </p:nvSpPr>
                <p:spPr bwMode="gray">
                  <a:xfrm>
                    <a:off x="5107796" y="4221227"/>
                    <a:ext cx="1760646" cy="218466"/>
                  </a:xfrm>
                  <a:prstGeom prst="rect">
                    <a:avLst/>
                  </a:prstGeom>
                  <a:noFill/>
                  <a:ln w="9525" algn="ctr">
                    <a:noFill/>
                    <a:miter lim="800000"/>
                    <a:headEnd/>
                    <a:tailEnd/>
                  </a:ln>
                </p:spPr>
                <p:txBody>
                  <a:bodyPr lIns="0" tIns="0" rIns="0" bIns="0" anchor="ctr" anchorCtr="1">
                    <a:spAutoFit/>
                  </a:bodyPr>
                  <a:lstStyle/>
                  <a:p>
                    <a:pPr algn="ctr">
                      <a:lnSpc>
                        <a:spcPct val="106000"/>
                      </a:lnSpc>
                      <a:buClr>
                        <a:schemeClr val="tx1"/>
                      </a:buClr>
                      <a:buFont typeface="Wingdings 2" pitchFamily="18" charset="2"/>
                      <a:buNone/>
                    </a:pPr>
                    <a:r>
                      <a:rPr lang="en-GB" sz="1200" b="1">
                        <a:solidFill>
                          <a:schemeClr val="bg1"/>
                        </a:solidFill>
                        <a:latin typeface="Arial" charset="0"/>
                        <a:cs typeface="Arial" charset="0"/>
                      </a:rPr>
                      <a:t>CONCORRENTES</a:t>
                    </a:r>
                  </a:p>
                </p:txBody>
              </p:sp>
            </p:grpSp>
          </p:grpSp>
          <p:sp>
            <p:nvSpPr>
              <p:cNvPr id="3" name="Oval 2"/>
              <p:cNvSpPr/>
              <p:nvPr/>
            </p:nvSpPr>
            <p:spPr>
              <a:xfrm>
                <a:off x="3740393" y="2116759"/>
                <a:ext cx="4814758" cy="4193099"/>
              </a:xfrm>
              <a:prstGeom prst="ellipse">
                <a:avLst/>
              </a:prstGeom>
              <a:noFill/>
              <a:ln>
                <a:solidFill>
                  <a:schemeClr val="bg2"/>
                </a:solidFill>
                <a:prstDash val="dash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/>
              </a:p>
            </p:txBody>
          </p:sp>
        </p:grpSp>
        <p:sp>
          <p:nvSpPr>
            <p:cNvPr id="32779" name="TextBox 56"/>
            <p:cNvSpPr txBox="1">
              <a:spLocks noChangeArrowheads="1"/>
            </p:cNvSpPr>
            <p:nvPr/>
          </p:nvSpPr>
          <p:spPr bwMode="auto">
            <a:xfrm>
              <a:off x="4977979" y="1768208"/>
              <a:ext cx="2860413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b="1">
                  <a:solidFill>
                    <a:srgbClr val="FFFFFF"/>
                  </a:solidFill>
                </a:rPr>
                <a:t>PARTILHA DE RISCO </a:t>
              </a:r>
            </a:p>
          </p:txBody>
        </p:sp>
        <p:sp>
          <p:nvSpPr>
            <p:cNvPr id="32780" name="TextBox 57"/>
            <p:cNvSpPr txBox="1">
              <a:spLocks noChangeArrowheads="1"/>
            </p:cNvSpPr>
            <p:nvPr/>
          </p:nvSpPr>
          <p:spPr bwMode="auto">
            <a:xfrm rot="5400000">
              <a:off x="7747580" y="4151459"/>
              <a:ext cx="2860413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b="1">
                  <a:solidFill>
                    <a:srgbClr val="FFFFFF"/>
                  </a:solidFill>
                </a:rPr>
                <a:t>SINERGIAS</a:t>
              </a:r>
            </a:p>
          </p:txBody>
        </p:sp>
        <p:sp>
          <p:nvSpPr>
            <p:cNvPr id="32781" name="TextBox 58"/>
            <p:cNvSpPr txBox="1">
              <a:spLocks noChangeArrowheads="1"/>
            </p:cNvSpPr>
            <p:nvPr/>
          </p:nvSpPr>
          <p:spPr bwMode="auto">
            <a:xfrm>
              <a:off x="4977979" y="6456539"/>
              <a:ext cx="2860413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b="1">
                  <a:solidFill>
                    <a:srgbClr val="FFFFFF"/>
                  </a:solidFill>
                </a:rPr>
                <a:t>VALORIZAÇÃO </a:t>
              </a:r>
            </a:p>
          </p:txBody>
        </p:sp>
        <p:sp>
          <p:nvSpPr>
            <p:cNvPr id="32782" name="TextBox 59"/>
            <p:cNvSpPr txBox="1">
              <a:spLocks noChangeArrowheads="1"/>
            </p:cNvSpPr>
            <p:nvPr/>
          </p:nvSpPr>
          <p:spPr bwMode="auto">
            <a:xfrm rot="-5400000">
              <a:off x="2213509" y="4246091"/>
              <a:ext cx="2860413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b="1">
                  <a:solidFill>
                    <a:srgbClr val="FFFFFF"/>
                  </a:solidFill>
                </a:rPr>
                <a:t>OPEN INNOVATION</a:t>
              </a:r>
            </a:p>
          </p:txBody>
        </p:sp>
      </p:grpSp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34818" name="Picture 17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19" name="Picture 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rot="1086495">
            <a:off x="-2046288" y="-4554538"/>
            <a:ext cx="15278101" cy="108331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20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520700" y="-114300"/>
            <a:ext cx="4011613" cy="655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1915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6" name="TextBox 26"/>
          <p:cNvSpPr txBox="1">
            <a:spLocks noChangeArrowheads="1"/>
          </p:cNvSpPr>
          <p:nvPr/>
        </p:nvSpPr>
        <p:spPr bwMode="auto">
          <a:xfrm>
            <a:off x="2667000" y="987425"/>
            <a:ext cx="7377113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tr-TR" sz="2800" b="1">
                <a:solidFill>
                  <a:srgbClr val="76A606"/>
                </a:solidFill>
                <a:latin typeface="Arial" charset="0"/>
                <a:cs typeface="Arial" charset="0"/>
              </a:rPr>
              <a:t>INSTRUMENTOS</a:t>
            </a:r>
          </a:p>
          <a:p>
            <a:endParaRPr lang="tr-TR" sz="2800" b="1">
              <a:solidFill>
                <a:srgbClr val="739002"/>
              </a:solidFill>
              <a:latin typeface="Arial" charset="0"/>
              <a:cs typeface="Arial" charset="0"/>
            </a:endParaRPr>
          </a:p>
          <a:p>
            <a:endParaRPr lang="tr-TR" b="1">
              <a:solidFill>
                <a:srgbClr val="739002"/>
              </a:solidFill>
              <a:latin typeface="Arial" charset="0"/>
              <a:cs typeface="Arial" charset="0"/>
            </a:endParaRPr>
          </a:p>
          <a:p>
            <a:endParaRPr lang="en-US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6" name="Diagram 5"/>
          <p:cNvGraphicFramePr/>
          <p:nvPr/>
        </p:nvGraphicFramePr>
        <p:xfrm>
          <a:off x="2666860" y="1760865"/>
          <a:ext cx="7108705" cy="45162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cxnSp>
        <p:nvCxnSpPr>
          <p:cNvPr id="9" name="Elbow Connector 8"/>
          <p:cNvCxnSpPr>
            <a:endCxn id="13" idx="1"/>
          </p:cNvCxnSpPr>
          <p:nvPr/>
        </p:nvCxnSpPr>
        <p:spPr>
          <a:xfrm rot="16200000" flipH="1">
            <a:off x="3675981" y="5931569"/>
            <a:ext cx="630365" cy="508376"/>
          </a:xfrm>
          <a:prstGeom prst="bentConnector2">
            <a:avLst/>
          </a:prstGeom>
          <a:ln>
            <a:solidFill>
              <a:schemeClr val="bg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4245351" y="6236621"/>
            <a:ext cx="3263900" cy="528638"/>
          </a:xfrm>
          <a:prstGeom prst="roundRect">
            <a:avLst/>
          </a:prstGeom>
          <a:solidFill>
            <a:srgbClr val="388D2B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dirty="0">
                <a:solidFill>
                  <a:schemeClr val="bg1"/>
                </a:solidFill>
              </a:rPr>
              <a:t>SAESCTN – Apoio à Ciência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36866" name="Picture 17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67" name="Picture 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rot="1086495">
            <a:off x="-2046288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68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520700" y="-114300"/>
            <a:ext cx="4011613" cy="655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0738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6" name="TextBox 26"/>
          <p:cNvSpPr txBox="1">
            <a:spLocks noChangeArrowheads="1"/>
          </p:cNvSpPr>
          <p:nvPr/>
        </p:nvSpPr>
        <p:spPr bwMode="auto">
          <a:xfrm>
            <a:off x="2667000" y="987425"/>
            <a:ext cx="7377113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tr-TR" sz="2800" b="1">
                <a:solidFill>
                  <a:srgbClr val="76A606"/>
                </a:solidFill>
                <a:latin typeface="Arial" charset="0"/>
                <a:cs typeface="Arial" charset="0"/>
              </a:rPr>
              <a:t>RESULTADOS GLOBAIS</a:t>
            </a:r>
          </a:p>
        </p:txBody>
      </p:sp>
      <p:sp>
        <p:nvSpPr>
          <p:cNvPr id="36872" name="TextBox 38"/>
          <p:cNvSpPr txBox="1">
            <a:spLocks noChangeArrowheads="1"/>
          </p:cNvSpPr>
          <p:nvPr/>
        </p:nvSpPr>
        <p:spPr bwMode="auto">
          <a:xfrm>
            <a:off x="1828800" y="2000250"/>
            <a:ext cx="914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rIns="36000"/>
          <a:lstStyle/>
          <a:p>
            <a:endParaRPr lang="pt-PT" sz="1400">
              <a:solidFill>
                <a:schemeClr val="tx2"/>
              </a:solidFill>
            </a:endParaRPr>
          </a:p>
        </p:txBody>
      </p:sp>
      <p:graphicFrame>
        <p:nvGraphicFramePr>
          <p:cNvPr id="18" name="Gráfico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56249573"/>
              </p:ext>
            </p:extLst>
          </p:nvPr>
        </p:nvGraphicFramePr>
        <p:xfrm>
          <a:off x="2541816" y="1647078"/>
          <a:ext cx="8020050" cy="3870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Rectângulo arredondado 1"/>
          <p:cNvSpPr/>
          <p:nvPr/>
        </p:nvSpPr>
        <p:spPr>
          <a:xfrm>
            <a:off x="3265488" y="5979143"/>
            <a:ext cx="2940050" cy="3603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PT" sz="1600" b="1" dirty="0">
                <a:latin typeface="Arial" pitchFamily="34" charset="0"/>
                <a:cs typeface="Arial" pitchFamily="34" charset="0"/>
              </a:rPr>
              <a:t>Geração e Aplicação de </a:t>
            </a:r>
          </a:p>
          <a:p>
            <a:pPr algn="ctr">
              <a:defRPr/>
            </a:pPr>
            <a:r>
              <a:rPr lang="pt-PT" sz="1600" b="1" dirty="0">
                <a:latin typeface="Arial" pitchFamily="34" charset="0"/>
                <a:cs typeface="Arial" pitchFamily="34" charset="0"/>
              </a:rPr>
              <a:t>Conhecimento</a:t>
            </a:r>
          </a:p>
        </p:txBody>
      </p:sp>
      <p:sp>
        <p:nvSpPr>
          <p:cNvPr id="20" name="Rectângulo arredondado 19"/>
          <p:cNvSpPr/>
          <p:nvPr/>
        </p:nvSpPr>
        <p:spPr>
          <a:xfrm>
            <a:off x="6175375" y="5979143"/>
            <a:ext cx="3267075" cy="331788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PT" sz="1600" b="1" dirty="0">
                <a:latin typeface="Arial" pitchFamily="34" charset="0"/>
                <a:cs typeface="Arial" pitchFamily="34" charset="0"/>
              </a:rPr>
              <a:t>Geração de </a:t>
            </a:r>
          </a:p>
          <a:p>
            <a:pPr algn="ctr">
              <a:defRPr/>
            </a:pPr>
            <a:r>
              <a:rPr lang="pt-PT" sz="1600" b="1" dirty="0">
                <a:latin typeface="Arial" pitchFamily="34" charset="0"/>
                <a:cs typeface="Arial" pitchFamily="34" charset="0"/>
              </a:rPr>
              <a:t>Conhecimento</a:t>
            </a:r>
          </a:p>
        </p:txBody>
      </p:sp>
      <p:sp>
        <p:nvSpPr>
          <p:cNvPr id="4" name="Seta para cima 3"/>
          <p:cNvSpPr/>
          <p:nvPr/>
        </p:nvSpPr>
        <p:spPr>
          <a:xfrm>
            <a:off x="4403725" y="5617193"/>
            <a:ext cx="598488" cy="182563"/>
          </a:xfrm>
          <a:prstGeom prst="upArrow">
            <a:avLst/>
          </a:prstGeom>
          <a:solidFill>
            <a:srgbClr val="79B83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 dirty="0"/>
          </a:p>
        </p:txBody>
      </p:sp>
      <p:sp>
        <p:nvSpPr>
          <p:cNvPr id="24" name="Seta para cima 23"/>
          <p:cNvSpPr/>
          <p:nvPr/>
        </p:nvSpPr>
        <p:spPr>
          <a:xfrm>
            <a:off x="7429500" y="5606081"/>
            <a:ext cx="598488" cy="182562"/>
          </a:xfrm>
          <a:prstGeom prst="upArrow">
            <a:avLst/>
          </a:prstGeom>
          <a:solidFill>
            <a:srgbClr val="79B83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PT" dirty="0"/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38914" name="Picture 17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-173038" y="5888038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15" name="Picture 1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916" name="Picture 1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-520700" y="-114300"/>
            <a:ext cx="4011613" cy="655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2325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TextBox 23"/>
          <p:cNvSpPr txBox="1">
            <a:spLocks noChangeArrowheads="1"/>
          </p:cNvSpPr>
          <p:nvPr/>
        </p:nvSpPr>
        <p:spPr bwMode="auto">
          <a:xfrm>
            <a:off x="4421188" y="3314700"/>
            <a:ext cx="71755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pt-PT" b="1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TextBox 26"/>
          <p:cNvSpPr txBox="1">
            <a:spLocks noChangeArrowheads="1"/>
          </p:cNvSpPr>
          <p:nvPr/>
        </p:nvSpPr>
        <p:spPr bwMode="auto">
          <a:xfrm>
            <a:off x="2625725" y="1039813"/>
            <a:ext cx="7662863" cy="2078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tr-TR" sz="2800" b="1">
                <a:solidFill>
                  <a:srgbClr val="76A606"/>
                </a:solidFill>
                <a:latin typeface="Arial" charset="0"/>
                <a:cs typeface="Arial" charset="0"/>
              </a:rPr>
              <a:t>RESULTADOS</a:t>
            </a:r>
          </a:p>
          <a:p>
            <a:endParaRPr lang="tr-TR" sz="900" b="1">
              <a:solidFill>
                <a:srgbClr val="76A606"/>
              </a:solidFill>
              <a:latin typeface="Arial" charset="0"/>
              <a:cs typeface="Arial" charset="0"/>
            </a:endParaRPr>
          </a:p>
          <a:p>
            <a:r>
              <a:rPr lang="pt-PT" sz="2200" b="1">
                <a:solidFill>
                  <a:schemeClr val="bg1"/>
                </a:solidFill>
                <a:latin typeface="Arial" charset="0"/>
                <a:cs typeface="Arial" charset="0"/>
              </a:rPr>
              <a:t>SI I&amp;DT - </a:t>
            </a:r>
            <a:r>
              <a:rPr lang="tr-TR" sz="2200" b="1">
                <a:solidFill>
                  <a:schemeClr val="bg1"/>
                </a:solidFill>
                <a:latin typeface="Arial" charset="0"/>
                <a:cs typeface="Arial" charset="0"/>
              </a:rPr>
              <a:t>Investimento Elegível Dinamizado </a:t>
            </a:r>
          </a:p>
          <a:p>
            <a:endParaRPr lang="tr-TR" sz="2800" b="1">
              <a:solidFill>
                <a:srgbClr val="739002"/>
              </a:solidFill>
              <a:latin typeface="Arial" charset="0"/>
              <a:cs typeface="Arial" charset="0"/>
            </a:endParaRPr>
          </a:p>
          <a:p>
            <a:endParaRPr lang="tr-TR" b="1">
              <a:solidFill>
                <a:srgbClr val="739002"/>
              </a:solidFill>
              <a:latin typeface="Arial" charset="0"/>
              <a:cs typeface="Arial" charset="0"/>
            </a:endParaRPr>
          </a:p>
          <a:p>
            <a:endParaRPr lang="en-US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26" name="Freeform 5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4411663" y="2757488"/>
            <a:ext cx="2727325" cy="542925"/>
          </a:xfrm>
          <a:custGeom>
            <a:avLst/>
            <a:gdLst>
              <a:gd name="T0" fmla="*/ 0 w 1404"/>
              <a:gd name="T1" fmla="*/ 2147483647 h 228"/>
              <a:gd name="T2" fmla="*/ 0 w 1404"/>
              <a:gd name="T3" fmla="*/ 0 h 228"/>
              <a:gd name="T4" fmla="*/ 2147483647 w 1404"/>
              <a:gd name="T5" fmla="*/ 0 h 228"/>
              <a:gd name="T6" fmla="*/ 0 60000 65536"/>
              <a:gd name="T7" fmla="*/ 0 60000 65536"/>
              <a:gd name="T8" fmla="*/ 0 60000 65536"/>
              <a:gd name="T9" fmla="*/ 0 w 1404"/>
              <a:gd name="T10" fmla="*/ 0 h 228"/>
              <a:gd name="T11" fmla="*/ 1404 w 1404"/>
              <a:gd name="T12" fmla="*/ 228 h 22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04" h="228">
                <a:moveTo>
                  <a:pt x="0" y="228"/>
                </a:moveTo>
                <a:lnTo>
                  <a:pt x="0" y="0"/>
                </a:lnTo>
                <a:lnTo>
                  <a:pt x="1404" y="0"/>
                </a:lnTo>
              </a:path>
            </a:pathLst>
          </a:custGeom>
          <a:noFill/>
          <a:ln w="12700">
            <a:solidFill>
              <a:schemeClr val="accent3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GB" dirty="0">
              <a:latin typeface="Calibri" charset="0"/>
              <a:ea typeface="Geneva" charset="0"/>
              <a:cs typeface="Geneva" charset="0"/>
            </a:endParaRPr>
          </a:p>
        </p:txBody>
      </p:sp>
      <p:sp>
        <p:nvSpPr>
          <p:cNvPr id="27" name="Freeform 14"/>
          <p:cNvSpPr>
            <a:spLocks/>
          </p:cNvSpPr>
          <p:nvPr>
            <p:custDataLst>
              <p:tags r:id="rId2"/>
            </p:custDataLst>
          </p:nvPr>
        </p:nvSpPr>
        <p:spPr bwMode="auto">
          <a:xfrm rot="10800000" flipH="1">
            <a:off x="4278313" y="5362575"/>
            <a:ext cx="3013075" cy="631825"/>
          </a:xfrm>
          <a:custGeom>
            <a:avLst/>
            <a:gdLst>
              <a:gd name="T0" fmla="*/ 0 w 1404"/>
              <a:gd name="T1" fmla="*/ 2147483647 h 228"/>
              <a:gd name="T2" fmla="*/ 0 w 1404"/>
              <a:gd name="T3" fmla="*/ 0 h 228"/>
              <a:gd name="T4" fmla="*/ 2147483647 w 1404"/>
              <a:gd name="T5" fmla="*/ 0 h 228"/>
              <a:gd name="T6" fmla="*/ 0 60000 65536"/>
              <a:gd name="T7" fmla="*/ 0 60000 65536"/>
              <a:gd name="T8" fmla="*/ 0 60000 65536"/>
              <a:gd name="T9" fmla="*/ 0 w 1404"/>
              <a:gd name="T10" fmla="*/ 0 h 228"/>
              <a:gd name="T11" fmla="*/ 1404 w 1404"/>
              <a:gd name="T12" fmla="*/ 228 h 22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04" h="228">
                <a:moveTo>
                  <a:pt x="0" y="228"/>
                </a:moveTo>
                <a:lnTo>
                  <a:pt x="0" y="0"/>
                </a:lnTo>
                <a:lnTo>
                  <a:pt x="1404" y="0"/>
                </a:lnTo>
              </a:path>
            </a:pathLst>
          </a:custGeom>
          <a:noFill/>
          <a:ln w="12700">
            <a:solidFill>
              <a:schemeClr val="accent3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GB" dirty="0">
              <a:latin typeface="Calibri" charset="0"/>
              <a:ea typeface="Geneva" charset="0"/>
              <a:cs typeface="Geneva" charset="0"/>
            </a:endParaRPr>
          </a:p>
        </p:txBody>
      </p:sp>
      <p:graphicFrame>
        <p:nvGraphicFramePr>
          <p:cNvPr id="29" name="Chart 28"/>
          <p:cNvGraphicFramePr/>
          <p:nvPr>
            <p:custDataLst>
              <p:tags r:id="rId3"/>
            </p:custDataLst>
          </p:nvPr>
        </p:nvGraphicFramePr>
        <p:xfrm>
          <a:off x="3114342" y="3182092"/>
          <a:ext cx="2257677" cy="2416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0" name="Chart 29"/>
          <p:cNvGraphicFramePr/>
          <p:nvPr/>
        </p:nvGraphicFramePr>
        <p:xfrm>
          <a:off x="5951680" y="2575621"/>
          <a:ext cx="4469128" cy="40120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38925" name="Text Placeholder 12"/>
          <p:cNvSpPr>
            <a:spLocks/>
          </p:cNvSpPr>
          <p:nvPr/>
        </p:nvSpPr>
        <p:spPr bwMode="auto">
          <a:xfrm>
            <a:off x="2695575" y="3054350"/>
            <a:ext cx="146367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1019175">
              <a:spcAft>
                <a:spcPts val="300"/>
              </a:spcAft>
            </a:pPr>
            <a:r>
              <a:rPr lang="en-US" sz="1600">
                <a:solidFill>
                  <a:srgbClr val="76A606"/>
                </a:solidFill>
                <a:latin typeface="Arial" charset="0"/>
                <a:cs typeface="Arial" charset="0"/>
              </a:rPr>
              <a:t>I&amp;D “In-House”</a:t>
            </a:r>
          </a:p>
        </p:txBody>
      </p:sp>
      <p:sp>
        <p:nvSpPr>
          <p:cNvPr id="38926" name="Text Placeholder 12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5476875" y="4284663"/>
            <a:ext cx="183515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1019175"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  <a:latin typeface="Arial" charset="0"/>
                <a:cs typeface="Arial" charset="0"/>
              </a:rPr>
              <a:t>I&amp;D Coletiva</a:t>
            </a:r>
          </a:p>
        </p:txBody>
      </p:sp>
      <p:sp>
        <p:nvSpPr>
          <p:cNvPr id="38927" name="Text Placeholder 1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990725" y="2114550"/>
            <a:ext cx="3540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1019175"/>
            <a:r>
              <a:rPr lang="en-US" sz="1400" b="1">
                <a:solidFill>
                  <a:schemeClr val="tx2"/>
                </a:solidFill>
              </a:rPr>
              <a:t>Text</a:t>
            </a:r>
          </a:p>
        </p:txBody>
      </p:sp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40962" name="Picture 17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63" name="Picture 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rot="1086495">
            <a:off x="-2035175" y="-4591050"/>
            <a:ext cx="15278100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64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520700" y="-114300"/>
            <a:ext cx="4011613" cy="655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90788" y="8128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6" name="TextBox 26"/>
          <p:cNvSpPr txBox="1">
            <a:spLocks noChangeArrowheads="1"/>
          </p:cNvSpPr>
          <p:nvPr/>
        </p:nvSpPr>
        <p:spPr bwMode="auto">
          <a:xfrm>
            <a:off x="2667000" y="987425"/>
            <a:ext cx="7377113" cy="267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tr-TR" sz="2800" b="1">
                <a:solidFill>
                  <a:srgbClr val="76A606"/>
                </a:solidFill>
                <a:latin typeface="Arial" charset="0"/>
                <a:cs typeface="Arial" charset="0"/>
              </a:rPr>
              <a:t>RESULTADOS</a:t>
            </a:r>
          </a:p>
          <a:p>
            <a:endParaRPr lang="tr-TR" sz="2800" b="1">
              <a:solidFill>
                <a:srgbClr val="76A606"/>
              </a:solidFill>
              <a:latin typeface="Arial" charset="0"/>
              <a:cs typeface="Arial" charset="0"/>
            </a:endParaRPr>
          </a:p>
          <a:p>
            <a:r>
              <a:rPr lang="tr-TR" sz="2200" b="1">
                <a:solidFill>
                  <a:srgbClr val="FFFFFF"/>
                </a:solidFill>
                <a:latin typeface="Arial" charset="0"/>
                <a:cs typeface="Arial" charset="0"/>
              </a:rPr>
              <a:t>INCENTIVO - I&amp;D em Co Promoção</a:t>
            </a:r>
          </a:p>
          <a:p>
            <a:endParaRPr lang="tr-TR" sz="2800" b="1">
              <a:solidFill>
                <a:srgbClr val="FFFFFF"/>
              </a:solidFill>
              <a:latin typeface="Arial" charset="0"/>
              <a:cs typeface="Arial" charset="0"/>
            </a:endParaRPr>
          </a:p>
          <a:p>
            <a:endParaRPr lang="tr-TR" sz="2800" b="1">
              <a:solidFill>
                <a:srgbClr val="76A606"/>
              </a:solidFill>
              <a:latin typeface="Arial" charset="0"/>
              <a:cs typeface="Arial" charset="0"/>
            </a:endParaRPr>
          </a:p>
          <a:p>
            <a:endParaRPr lang="tr-TR" sz="2800" b="1">
              <a:solidFill>
                <a:srgbClr val="76A606"/>
              </a:solidFill>
              <a:latin typeface="Arial" charset="0"/>
              <a:cs typeface="Arial" charset="0"/>
            </a:endParaRPr>
          </a:p>
        </p:txBody>
      </p:sp>
      <p:sp>
        <p:nvSpPr>
          <p:cNvPr id="40968" name="TextBox 38"/>
          <p:cNvSpPr txBox="1">
            <a:spLocks noChangeArrowheads="1"/>
          </p:cNvSpPr>
          <p:nvPr/>
        </p:nvSpPr>
        <p:spPr bwMode="auto">
          <a:xfrm>
            <a:off x="1828800" y="2000250"/>
            <a:ext cx="914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rIns="36000"/>
          <a:lstStyle/>
          <a:p>
            <a:endParaRPr lang="pt-PT" sz="1400">
              <a:solidFill>
                <a:schemeClr val="tx2"/>
              </a:solidFill>
            </a:endParaRPr>
          </a:p>
        </p:txBody>
      </p:sp>
      <p:sp>
        <p:nvSpPr>
          <p:cNvPr id="40969" name="TextBox 2"/>
          <p:cNvSpPr txBox="1">
            <a:spLocks noChangeArrowheads="1"/>
          </p:cNvSpPr>
          <p:nvPr/>
        </p:nvSpPr>
        <p:spPr bwMode="auto">
          <a:xfrm>
            <a:off x="3933825" y="3368675"/>
            <a:ext cx="5327650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0">
                <a:solidFill>
                  <a:srgbClr val="76A606"/>
                </a:solidFill>
              </a:rPr>
              <a:t>6 X PRIME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43010" name="Picture 17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11" name="Picture 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rot="1086495">
            <a:off x="-2046288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12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520700" y="-114300"/>
            <a:ext cx="4011613" cy="655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42963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6" name="TextBox 26"/>
          <p:cNvSpPr txBox="1">
            <a:spLocks noChangeArrowheads="1"/>
          </p:cNvSpPr>
          <p:nvPr/>
        </p:nvSpPr>
        <p:spPr bwMode="auto">
          <a:xfrm>
            <a:off x="2667000" y="987425"/>
            <a:ext cx="7377113" cy="267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tr-TR" sz="2800" b="1">
                <a:solidFill>
                  <a:srgbClr val="76A606"/>
                </a:solidFill>
                <a:latin typeface="Arial" charset="0"/>
                <a:cs typeface="Arial" charset="0"/>
              </a:rPr>
              <a:t>RESULTADOS</a:t>
            </a:r>
          </a:p>
          <a:p>
            <a:endParaRPr lang="tr-TR" sz="2800" b="1">
              <a:solidFill>
                <a:srgbClr val="76A606"/>
              </a:solidFill>
              <a:latin typeface="Arial" charset="0"/>
              <a:cs typeface="Arial" charset="0"/>
            </a:endParaRPr>
          </a:p>
          <a:p>
            <a:r>
              <a:rPr lang="tr-TR" sz="2200" b="1">
                <a:solidFill>
                  <a:srgbClr val="FFFFFF"/>
                </a:solidFill>
                <a:latin typeface="Arial" charset="0"/>
                <a:cs typeface="Arial" charset="0"/>
              </a:rPr>
              <a:t>Taxa de Aprovação </a:t>
            </a:r>
          </a:p>
          <a:p>
            <a:endParaRPr lang="tr-TR" sz="2800" b="1">
              <a:solidFill>
                <a:srgbClr val="FFFFFF"/>
              </a:solidFill>
              <a:latin typeface="Arial" charset="0"/>
              <a:cs typeface="Arial" charset="0"/>
            </a:endParaRPr>
          </a:p>
          <a:p>
            <a:endParaRPr lang="tr-TR" sz="2800" b="1">
              <a:solidFill>
                <a:srgbClr val="76A606"/>
              </a:solidFill>
              <a:latin typeface="Arial" charset="0"/>
              <a:cs typeface="Arial" charset="0"/>
            </a:endParaRPr>
          </a:p>
          <a:p>
            <a:endParaRPr lang="tr-TR" sz="2800" b="1">
              <a:solidFill>
                <a:srgbClr val="76A606"/>
              </a:solidFill>
              <a:latin typeface="Arial" charset="0"/>
              <a:cs typeface="Arial" charset="0"/>
            </a:endParaRPr>
          </a:p>
        </p:txBody>
      </p:sp>
      <p:sp>
        <p:nvSpPr>
          <p:cNvPr id="43016" name="TextBox 38"/>
          <p:cNvSpPr txBox="1">
            <a:spLocks noChangeArrowheads="1"/>
          </p:cNvSpPr>
          <p:nvPr/>
        </p:nvSpPr>
        <p:spPr bwMode="auto">
          <a:xfrm>
            <a:off x="1828800" y="2000250"/>
            <a:ext cx="914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rIns="36000"/>
          <a:lstStyle/>
          <a:p>
            <a:endParaRPr lang="pt-PT" sz="1400">
              <a:solidFill>
                <a:schemeClr val="tx2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7532688" y="3524250"/>
            <a:ext cx="2027237" cy="2147888"/>
          </a:xfrm>
          <a:prstGeom prst="roundRect">
            <a:avLst/>
          </a:prstGeom>
          <a:solidFill>
            <a:srgbClr val="388D2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3200" b="1" dirty="0"/>
              <a:t>72%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3838575" y="4102100"/>
            <a:ext cx="2166938" cy="1570038"/>
          </a:xfrm>
          <a:prstGeom prst="roundRect">
            <a:avLst/>
          </a:prstGeom>
          <a:solidFill>
            <a:srgbClr val="388D2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3200" b="1" dirty="0">
                <a:solidFill>
                  <a:schemeClr val="bg1"/>
                </a:solidFill>
              </a:rPr>
              <a:t>59%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3492500" y="5818188"/>
            <a:ext cx="6429375" cy="0"/>
          </a:xfrm>
          <a:prstGeom prst="line">
            <a:avLst/>
          </a:prstGeom>
          <a:ln>
            <a:solidFill>
              <a:srgbClr val="008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020" name="TextBox 14"/>
          <p:cNvSpPr txBox="1">
            <a:spLocks noChangeArrowheads="1"/>
          </p:cNvSpPr>
          <p:nvPr/>
        </p:nvSpPr>
        <p:spPr bwMode="auto">
          <a:xfrm>
            <a:off x="3490913" y="3594100"/>
            <a:ext cx="27273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>
                <a:solidFill>
                  <a:srgbClr val="FFFFFF"/>
                </a:solidFill>
              </a:rPr>
              <a:t>SI I&amp;DT Co Promoção</a:t>
            </a:r>
          </a:p>
        </p:txBody>
      </p:sp>
      <p:sp>
        <p:nvSpPr>
          <p:cNvPr id="43021" name="TextBox 15"/>
          <p:cNvSpPr txBox="1">
            <a:spLocks noChangeArrowheads="1"/>
          </p:cNvSpPr>
          <p:nvPr/>
        </p:nvSpPr>
        <p:spPr bwMode="auto">
          <a:xfrm>
            <a:off x="7265988" y="3000375"/>
            <a:ext cx="272573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>
                <a:solidFill>
                  <a:srgbClr val="FFFFFF"/>
                </a:solidFill>
              </a:rPr>
              <a:t>SI I&amp;DT Individuais</a:t>
            </a: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45058" name="Picture 17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59" name="Picture 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rot="1086495">
            <a:off x="-2046288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0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520700" y="-114300"/>
            <a:ext cx="4011613" cy="655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42963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6" name="TextBox 26"/>
          <p:cNvSpPr txBox="1">
            <a:spLocks noChangeArrowheads="1"/>
          </p:cNvSpPr>
          <p:nvPr/>
        </p:nvSpPr>
        <p:spPr bwMode="auto">
          <a:xfrm>
            <a:off x="2667000" y="987425"/>
            <a:ext cx="7377113" cy="215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tr-TR" sz="2800" b="1">
                <a:solidFill>
                  <a:srgbClr val="76A606"/>
                </a:solidFill>
                <a:latin typeface="Arial" charset="0"/>
                <a:cs typeface="Arial" charset="0"/>
              </a:rPr>
              <a:t>RESULTADOS</a:t>
            </a:r>
          </a:p>
          <a:p>
            <a:endParaRPr lang="tr-TR" sz="2800" b="1">
              <a:solidFill>
                <a:srgbClr val="76A606"/>
              </a:solidFill>
              <a:latin typeface="Arial" charset="0"/>
              <a:cs typeface="Arial" charset="0"/>
            </a:endParaRPr>
          </a:p>
          <a:p>
            <a:r>
              <a:rPr lang="tr-TR" sz="2200" b="1">
                <a:solidFill>
                  <a:srgbClr val="FFFFFF"/>
                </a:solidFill>
                <a:latin typeface="Arial" charset="0"/>
                <a:cs typeface="Arial" charset="0"/>
              </a:rPr>
              <a:t>N.º Projeto</a:t>
            </a:r>
            <a:r>
              <a:rPr lang="pt-PT" sz="2200" b="1">
                <a:solidFill>
                  <a:srgbClr val="FFFFFF"/>
                </a:solidFill>
                <a:latin typeface="Arial" charset="0"/>
                <a:cs typeface="Arial" charset="0"/>
              </a:rPr>
              <a:t>s</a:t>
            </a:r>
            <a:r>
              <a:rPr lang="tr-TR" sz="2200" b="1">
                <a:solidFill>
                  <a:srgbClr val="FFFFFF"/>
                </a:solidFill>
                <a:latin typeface="Arial" charset="0"/>
                <a:cs typeface="Arial" charset="0"/>
              </a:rPr>
              <a:t> Apoiados</a:t>
            </a:r>
          </a:p>
          <a:p>
            <a:endParaRPr lang="tr-TR" sz="2800" b="1">
              <a:solidFill>
                <a:srgbClr val="76A606"/>
              </a:solidFill>
              <a:latin typeface="Arial" charset="0"/>
              <a:cs typeface="Arial" charset="0"/>
            </a:endParaRPr>
          </a:p>
          <a:p>
            <a:endParaRPr lang="tr-TR" sz="2800" b="1">
              <a:solidFill>
                <a:srgbClr val="76A606"/>
              </a:solidFill>
              <a:latin typeface="Arial" charset="0"/>
              <a:cs typeface="Arial" charset="0"/>
            </a:endParaRPr>
          </a:p>
        </p:txBody>
      </p:sp>
      <p:sp>
        <p:nvSpPr>
          <p:cNvPr id="45064" name="TextBox 38"/>
          <p:cNvSpPr txBox="1">
            <a:spLocks noChangeArrowheads="1"/>
          </p:cNvSpPr>
          <p:nvPr/>
        </p:nvSpPr>
        <p:spPr bwMode="auto">
          <a:xfrm>
            <a:off x="1828800" y="2000250"/>
            <a:ext cx="914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rIns="36000"/>
          <a:lstStyle/>
          <a:p>
            <a:endParaRPr lang="pt-PT" sz="1400">
              <a:solidFill>
                <a:schemeClr val="tx2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7532688" y="3524250"/>
            <a:ext cx="2027237" cy="2147888"/>
          </a:xfrm>
          <a:prstGeom prst="roundRect">
            <a:avLst/>
          </a:prstGeom>
          <a:solidFill>
            <a:srgbClr val="388D2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3200" b="1" dirty="0"/>
              <a:t>58%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3838575" y="4102100"/>
            <a:ext cx="2166938" cy="1570038"/>
          </a:xfrm>
          <a:prstGeom prst="roundRect">
            <a:avLst/>
          </a:prstGeom>
          <a:solidFill>
            <a:srgbClr val="388D2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3200" b="1" dirty="0"/>
              <a:t>42%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3492500" y="5818188"/>
            <a:ext cx="6429375" cy="0"/>
          </a:xfrm>
          <a:prstGeom prst="line">
            <a:avLst/>
          </a:prstGeom>
          <a:ln>
            <a:solidFill>
              <a:srgbClr val="008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068" name="TextBox 14"/>
          <p:cNvSpPr txBox="1">
            <a:spLocks noChangeArrowheads="1"/>
          </p:cNvSpPr>
          <p:nvPr/>
        </p:nvSpPr>
        <p:spPr bwMode="auto">
          <a:xfrm>
            <a:off x="3490913" y="3594100"/>
            <a:ext cx="27273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>
                <a:solidFill>
                  <a:srgbClr val="FFFFFF"/>
                </a:solidFill>
              </a:rPr>
              <a:t>Grandes Empresas</a:t>
            </a:r>
          </a:p>
        </p:txBody>
      </p:sp>
      <p:sp>
        <p:nvSpPr>
          <p:cNvPr id="45069" name="TextBox 15"/>
          <p:cNvSpPr txBox="1">
            <a:spLocks noChangeArrowheads="1"/>
          </p:cNvSpPr>
          <p:nvPr/>
        </p:nvSpPr>
        <p:spPr bwMode="auto">
          <a:xfrm>
            <a:off x="7265988" y="3000375"/>
            <a:ext cx="272573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>
                <a:solidFill>
                  <a:srgbClr val="FFFFFF"/>
                </a:solidFill>
              </a:rPr>
              <a:t>PME</a:t>
            </a: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47106" name="Picture 17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107" name="Picture 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rot="1086495">
            <a:off x="-2046288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108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520700" y="-114300"/>
            <a:ext cx="4011613" cy="655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1915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6" name="TextBox 26"/>
          <p:cNvSpPr txBox="1">
            <a:spLocks noChangeArrowheads="1"/>
          </p:cNvSpPr>
          <p:nvPr/>
        </p:nvSpPr>
        <p:spPr bwMode="auto">
          <a:xfrm>
            <a:off x="2667000" y="987425"/>
            <a:ext cx="7377113" cy="172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tr-TR" sz="2800" b="1">
                <a:solidFill>
                  <a:srgbClr val="76A606"/>
                </a:solidFill>
                <a:latin typeface="Arial" charset="0"/>
                <a:cs typeface="Arial" charset="0"/>
              </a:rPr>
              <a:t>RESULTADOS</a:t>
            </a:r>
          </a:p>
          <a:p>
            <a:endParaRPr lang="tr-TR" sz="2800" b="1">
              <a:solidFill>
                <a:srgbClr val="76A606"/>
              </a:solidFill>
              <a:latin typeface="Arial" charset="0"/>
              <a:cs typeface="Arial" charset="0"/>
            </a:endParaRPr>
          </a:p>
          <a:p>
            <a:r>
              <a:rPr lang="tr-TR" sz="2200" b="1">
                <a:solidFill>
                  <a:srgbClr val="FFFFFF"/>
                </a:solidFill>
                <a:latin typeface="Arial" charset="0"/>
                <a:cs typeface="Arial" charset="0"/>
              </a:rPr>
              <a:t>Incentivo Atribuído por Setores</a:t>
            </a:r>
            <a:endParaRPr lang="tr-TR" sz="2200" b="1">
              <a:solidFill>
                <a:srgbClr val="76A606"/>
              </a:solidFill>
              <a:latin typeface="Arial" charset="0"/>
              <a:cs typeface="Arial" charset="0"/>
            </a:endParaRPr>
          </a:p>
          <a:p>
            <a:endParaRPr lang="tr-TR" sz="2800" b="1">
              <a:solidFill>
                <a:srgbClr val="76A606"/>
              </a:solidFill>
              <a:latin typeface="Arial" charset="0"/>
              <a:cs typeface="Arial" charset="0"/>
            </a:endParaRPr>
          </a:p>
        </p:txBody>
      </p:sp>
      <p:sp>
        <p:nvSpPr>
          <p:cNvPr id="47112" name="TextBox 38"/>
          <p:cNvSpPr txBox="1">
            <a:spLocks noChangeArrowheads="1"/>
          </p:cNvSpPr>
          <p:nvPr/>
        </p:nvSpPr>
        <p:spPr bwMode="auto">
          <a:xfrm>
            <a:off x="1828800" y="2000250"/>
            <a:ext cx="914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rIns="36000"/>
          <a:lstStyle/>
          <a:p>
            <a:endParaRPr lang="pt-PT" sz="1400">
              <a:solidFill>
                <a:schemeClr val="tx2"/>
              </a:solidFill>
            </a:endParaRPr>
          </a:p>
        </p:txBody>
      </p:sp>
      <p:graphicFrame>
        <p:nvGraphicFramePr>
          <p:cNvPr id="28" name="Chart 27"/>
          <p:cNvGraphicFramePr>
            <a:graphicFrameLocks/>
          </p:cNvGraphicFramePr>
          <p:nvPr/>
        </p:nvGraphicFramePr>
        <p:xfrm>
          <a:off x="2743708" y="2914636"/>
          <a:ext cx="7081474" cy="3161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49154" name="Picture 17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155" name="Picture 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rot="1086495">
            <a:off x="-2046288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156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520700" y="-114300"/>
            <a:ext cx="4011613" cy="655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1915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49159" name="TextBox 38"/>
          <p:cNvSpPr txBox="1">
            <a:spLocks noChangeArrowheads="1"/>
          </p:cNvSpPr>
          <p:nvPr/>
        </p:nvSpPr>
        <p:spPr bwMode="auto">
          <a:xfrm>
            <a:off x="1828800" y="2000250"/>
            <a:ext cx="914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36000" rIns="36000"/>
          <a:lstStyle/>
          <a:p>
            <a:endParaRPr lang="pt-PT" sz="1400">
              <a:solidFill>
                <a:schemeClr val="tx2"/>
              </a:solidFill>
            </a:endParaRPr>
          </a:p>
        </p:txBody>
      </p:sp>
      <p:graphicFrame>
        <p:nvGraphicFramePr>
          <p:cNvPr id="11" name="Diagram 10"/>
          <p:cNvGraphicFramePr/>
          <p:nvPr/>
        </p:nvGraphicFramePr>
        <p:xfrm>
          <a:off x="3174397" y="2521522"/>
          <a:ext cx="6753826" cy="33490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2" name="TextBox 26"/>
          <p:cNvSpPr txBox="1">
            <a:spLocks noChangeArrowheads="1"/>
          </p:cNvSpPr>
          <p:nvPr/>
        </p:nvSpPr>
        <p:spPr bwMode="auto">
          <a:xfrm>
            <a:off x="2667000" y="987425"/>
            <a:ext cx="7377113" cy="1385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tr-TR" sz="2800" b="1">
                <a:solidFill>
                  <a:srgbClr val="76A606"/>
                </a:solidFill>
                <a:latin typeface="Arial" charset="0"/>
                <a:cs typeface="Arial" charset="0"/>
              </a:rPr>
              <a:t>FUTURO</a:t>
            </a:r>
          </a:p>
          <a:p>
            <a:endParaRPr lang="tr-TR" sz="2800" b="1">
              <a:solidFill>
                <a:srgbClr val="76A606"/>
              </a:solidFill>
              <a:latin typeface="Arial" charset="0"/>
              <a:cs typeface="Arial" charset="0"/>
            </a:endParaRPr>
          </a:p>
          <a:p>
            <a:endParaRPr lang="tr-TR" sz="2800" b="1">
              <a:solidFill>
                <a:srgbClr val="76A606"/>
              </a:solidFill>
              <a:latin typeface="Arial" charset="0"/>
              <a:cs typeface="Arial" charset="0"/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954900">
            <a:off x="-1171575" y="-1595438"/>
            <a:ext cx="13104813" cy="929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"/>
          <p:cNvGrpSpPr>
            <a:grpSpLocks/>
          </p:cNvGrpSpPr>
          <p:nvPr/>
        </p:nvGrpSpPr>
        <p:grpSpPr bwMode="auto">
          <a:xfrm>
            <a:off x="-173038" y="1979613"/>
            <a:ext cx="11112501" cy="4778375"/>
            <a:chOff x="-173038" y="1979613"/>
            <a:chExt cx="11112501" cy="4778375"/>
          </a:xfrm>
        </p:grpSpPr>
        <p:pic>
          <p:nvPicPr>
            <p:cNvPr id="51205" name="Picture 10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-173038" y="5851525"/>
              <a:ext cx="10799763" cy="906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1206" name="Picture 3"/>
            <p:cNvPicPr>
              <a:picLocks noChangeAspect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314325" y="1979613"/>
              <a:ext cx="10625138" cy="45196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954900">
            <a:off x="-1171575" y="-1595438"/>
            <a:ext cx="13104813" cy="929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"/>
          <p:cNvGrpSpPr>
            <a:grpSpLocks/>
          </p:cNvGrpSpPr>
          <p:nvPr/>
        </p:nvGrpSpPr>
        <p:grpSpPr bwMode="auto">
          <a:xfrm>
            <a:off x="-173038" y="1979613"/>
            <a:ext cx="11112501" cy="4778375"/>
            <a:chOff x="-173038" y="1979613"/>
            <a:chExt cx="11112501" cy="4778375"/>
          </a:xfrm>
        </p:grpSpPr>
        <p:pic>
          <p:nvPicPr>
            <p:cNvPr id="16389" name="Picture 10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-173038" y="5851525"/>
              <a:ext cx="10799763" cy="906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390" name="Picture 3"/>
            <p:cNvPicPr>
              <a:picLocks noChangeAspect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314325" y="1979613"/>
              <a:ext cx="10625138" cy="45196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53250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251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252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1536700" y="350838"/>
            <a:ext cx="5214938" cy="6040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aphicFrame>
        <p:nvGraphicFramePr>
          <p:cNvPr id="20" name="Diagram 19"/>
          <p:cNvGraphicFramePr/>
          <p:nvPr/>
        </p:nvGraphicFramePr>
        <p:xfrm>
          <a:off x="2714626" y="1924050"/>
          <a:ext cx="7848600" cy="39465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53256" name="TextBox 26"/>
          <p:cNvSpPr txBox="1">
            <a:spLocks noChangeArrowheads="1"/>
          </p:cNvSpPr>
          <p:nvPr/>
        </p:nvSpPr>
        <p:spPr bwMode="auto">
          <a:xfrm>
            <a:off x="2984500" y="1295400"/>
            <a:ext cx="71755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chemeClr val="bg1"/>
                </a:solidFill>
                <a:latin typeface="Arial" charset="0"/>
                <a:cs typeface="Arial" charset="0"/>
              </a:rPr>
              <a:t>SISTEMA DE INCENTIVOS À INOVAÇÃO – SI INOVAÇÃO</a:t>
            </a:r>
          </a:p>
        </p:txBody>
      </p:sp>
      <p:sp>
        <p:nvSpPr>
          <p:cNvPr id="53257" name="TextBox 20"/>
          <p:cNvSpPr txBox="1">
            <a:spLocks noChangeArrowheads="1"/>
          </p:cNvSpPr>
          <p:nvPr/>
        </p:nvSpPr>
        <p:spPr bwMode="auto">
          <a:xfrm>
            <a:off x="5103813" y="5191125"/>
            <a:ext cx="31146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pt-PT">
                <a:solidFill>
                  <a:srgbClr val="991324"/>
                </a:solidFill>
                <a:latin typeface="Arial" charset="0"/>
                <a:cs typeface="Arial" charset="0"/>
              </a:rPr>
              <a:t>INOVAÇÃO PRODUTIVA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55298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299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300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1536700" y="350838"/>
            <a:ext cx="5214938" cy="6040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aphicFrame>
        <p:nvGraphicFramePr>
          <p:cNvPr id="20" name="Diagram 19"/>
          <p:cNvGraphicFramePr/>
          <p:nvPr/>
        </p:nvGraphicFramePr>
        <p:xfrm>
          <a:off x="2714626" y="1924050"/>
          <a:ext cx="7848600" cy="39465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55304" name="TextBox 26"/>
          <p:cNvSpPr txBox="1">
            <a:spLocks noChangeArrowheads="1"/>
          </p:cNvSpPr>
          <p:nvPr/>
        </p:nvSpPr>
        <p:spPr bwMode="auto">
          <a:xfrm>
            <a:off x="2984500" y="1295400"/>
            <a:ext cx="71755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chemeClr val="bg1"/>
                </a:solidFill>
                <a:latin typeface="Arial" charset="0"/>
                <a:cs typeface="Arial" charset="0"/>
              </a:rPr>
              <a:t>SISTEMA DE INCENTIVOS À INOVAÇÃO – SI INOVAÇÃO</a:t>
            </a:r>
          </a:p>
        </p:txBody>
      </p:sp>
      <p:sp>
        <p:nvSpPr>
          <p:cNvPr id="55305" name="TextBox 26"/>
          <p:cNvSpPr txBox="1">
            <a:spLocks noChangeArrowheads="1"/>
          </p:cNvSpPr>
          <p:nvPr/>
        </p:nvSpPr>
        <p:spPr bwMode="auto">
          <a:xfrm>
            <a:off x="3136900" y="2028825"/>
            <a:ext cx="45021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>
                <a:solidFill>
                  <a:schemeClr val="bg1"/>
                </a:solidFill>
                <a:latin typeface="Arial" charset="0"/>
                <a:cs typeface="Arial" charset="0"/>
              </a:rPr>
              <a:t>CARACTERÍSTICAS VALORIZADAS:</a:t>
            </a:r>
            <a:endParaRPr lang="pt-PT" b="1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57346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347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348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1536700" y="350838"/>
            <a:ext cx="5214938" cy="6040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aphicFrame>
        <p:nvGraphicFramePr>
          <p:cNvPr id="20" name="Diagram 19"/>
          <p:cNvGraphicFramePr/>
          <p:nvPr/>
        </p:nvGraphicFramePr>
        <p:xfrm>
          <a:off x="2714626" y="1924050"/>
          <a:ext cx="7848600" cy="39465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57352" name="TextBox 26"/>
          <p:cNvSpPr txBox="1">
            <a:spLocks noChangeArrowheads="1"/>
          </p:cNvSpPr>
          <p:nvPr/>
        </p:nvSpPr>
        <p:spPr bwMode="auto">
          <a:xfrm>
            <a:off x="2984500" y="1295400"/>
            <a:ext cx="71755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chemeClr val="bg1"/>
                </a:solidFill>
                <a:latin typeface="Arial" charset="0"/>
                <a:cs typeface="Arial" charset="0"/>
              </a:rPr>
              <a:t>SISTEMA DE INCENTIVOS À INOVAÇÃO – SI INOVAÇÃO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59394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395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396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1536700" y="350838"/>
            <a:ext cx="5214938" cy="6040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9399" name="TextBox 26"/>
          <p:cNvSpPr txBox="1">
            <a:spLocks noChangeArrowheads="1"/>
          </p:cNvSpPr>
          <p:nvPr/>
        </p:nvSpPr>
        <p:spPr bwMode="auto">
          <a:xfrm>
            <a:off x="2984500" y="1295400"/>
            <a:ext cx="71755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chemeClr val="bg1"/>
                </a:solidFill>
                <a:latin typeface="Arial" charset="0"/>
                <a:cs typeface="Arial" charset="0"/>
              </a:rPr>
              <a:t>SISTEMA DE INCENTIVOS À INOVAÇÃO – SI INOVAÇÃO</a:t>
            </a:r>
          </a:p>
        </p:txBody>
      </p:sp>
      <p:graphicFrame>
        <p:nvGraphicFramePr>
          <p:cNvPr id="3" name="Diagram 2"/>
          <p:cNvGraphicFramePr/>
          <p:nvPr/>
        </p:nvGraphicFramePr>
        <p:xfrm>
          <a:off x="3152510" y="2009775"/>
          <a:ext cx="7199842" cy="40469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61442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43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44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1536700" y="350838"/>
            <a:ext cx="5214938" cy="6040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aphicFrame>
        <p:nvGraphicFramePr>
          <p:cNvPr id="20" name="Diagram 19"/>
          <p:cNvGraphicFramePr/>
          <p:nvPr/>
        </p:nvGraphicFramePr>
        <p:xfrm>
          <a:off x="2714626" y="1924050"/>
          <a:ext cx="7696199" cy="39465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61448" name="TextBox 26"/>
          <p:cNvSpPr txBox="1">
            <a:spLocks noChangeArrowheads="1"/>
          </p:cNvSpPr>
          <p:nvPr/>
        </p:nvSpPr>
        <p:spPr bwMode="auto">
          <a:xfrm>
            <a:off x="2984500" y="1295400"/>
            <a:ext cx="71755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chemeClr val="bg1"/>
                </a:solidFill>
                <a:latin typeface="Arial" charset="0"/>
                <a:cs typeface="Arial" charset="0"/>
              </a:rPr>
              <a:t>SISTEMA DE INCENTIVOS À INOVAÇÃO – SI INOVAÇÃO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63490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491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492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1536700" y="350838"/>
            <a:ext cx="5214938" cy="6040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aphicFrame>
        <p:nvGraphicFramePr>
          <p:cNvPr id="20" name="Diagram 19"/>
          <p:cNvGraphicFramePr/>
          <p:nvPr/>
        </p:nvGraphicFramePr>
        <p:xfrm>
          <a:off x="2714626" y="2133600"/>
          <a:ext cx="7696199" cy="3648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63496" name="TextBox 26"/>
          <p:cNvSpPr txBox="1">
            <a:spLocks noChangeArrowheads="1"/>
          </p:cNvSpPr>
          <p:nvPr/>
        </p:nvSpPr>
        <p:spPr bwMode="auto">
          <a:xfrm>
            <a:off x="2984500" y="1295400"/>
            <a:ext cx="71755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chemeClr val="bg1"/>
                </a:solidFill>
                <a:latin typeface="Arial" charset="0"/>
                <a:cs typeface="Arial" charset="0"/>
              </a:rPr>
              <a:t>SISTEMA DE INCENTIVOS À INOVAÇÃO – SI INOVAÇÃO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2743200" y="1695450"/>
            <a:ext cx="7105650" cy="360363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PT" dirty="0">
                <a:latin typeface="Arial" pitchFamily="34" charset="0"/>
                <a:cs typeface="Arial" pitchFamily="34" charset="0"/>
              </a:rPr>
              <a:t>RESULTADOS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65538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539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540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1536700" y="350838"/>
            <a:ext cx="5214938" cy="6040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aphicFrame>
        <p:nvGraphicFramePr>
          <p:cNvPr id="20" name="Diagram 19"/>
          <p:cNvGraphicFramePr/>
          <p:nvPr/>
        </p:nvGraphicFramePr>
        <p:xfrm>
          <a:off x="2714626" y="2133600"/>
          <a:ext cx="7696199" cy="3648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65544" name="TextBox 26"/>
          <p:cNvSpPr txBox="1">
            <a:spLocks noChangeArrowheads="1"/>
          </p:cNvSpPr>
          <p:nvPr/>
        </p:nvSpPr>
        <p:spPr bwMode="auto">
          <a:xfrm>
            <a:off x="2984500" y="1295400"/>
            <a:ext cx="71755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chemeClr val="bg1"/>
                </a:solidFill>
                <a:latin typeface="Arial" charset="0"/>
                <a:cs typeface="Arial" charset="0"/>
              </a:rPr>
              <a:t>SISTEMA DE INCENTIVOS À INOVAÇÃO – SI INOVAÇÃO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67586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7587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7588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1536700" y="350838"/>
            <a:ext cx="5214938" cy="6040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aphicFrame>
        <p:nvGraphicFramePr>
          <p:cNvPr id="20" name="Diagram 19"/>
          <p:cNvGraphicFramePr/>
          <p:nvPr/>
        </p:nvGraphicFramePr>
        <p:xfrm>
          <a:off x="2714626" y="1924050"/>
          <a:ext cx="7848600" cy="39465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67592" name="TextBox 26"/>
          <p:cNvSpPr txBox="1">
            <a:spLocks noChangeArrowheads="1"/>
          </p:cNvSpPr>
          <p:nvPr/>
        </p:nvSpPr>
        <p:spPr bwMode="auto">
          <a:xfrm>
            <a:off x="2984500" y="1295400"/>
            <a:ext cx="71755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chemeClr val="bg1"/>
                </a:solidFill>
                <a:latin typeface="Arial" charset="0"/>
                <a:cs typeface="Arial" charset="0"/>
              </a:rPr>
              <a:t>SISTEMA INCENTIVOS QUALIFICAÇÃO PME</a:t>
            </a:r>
          </a:p>
        </p:txBody>
      </p:sp>
      <p:sp>
        <p:nvSpPr>
          <p:cNvPr id="3" name="Pentagon 2"/>
          <p:cNvSpPr/>
          <p:nvPr/>
        </p:nvSpPr>
        <p:spPr>
          <a:xfrm>
            <a:off x="2984499" y="1924050"/>
            <a:ext cx="935035" cy="3946524"/>
          </a:xfrm>
          <a:prstGeom prst="homePlate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>
              <a:defRPr/>
            </a:pPr>
            <a:r>
              <a:rPr lang="pt-PT" sz="1800" dirty="0">
                <a:latin typeface="Arial" pitchFamily="34" charset="0"/>
                <a:cs typeface="Arial" pitchFamily="34" charset="0"/>
              </a:rPr>
              <a:t>FACTORES DINÂMICOS  DE COMPETITIVIDADE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69634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635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636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1536700" y="350838"/>
            <a:ext cx="5214938" cy="6040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aphicFrame>
        <p:nvGraphicFramePr>
          <p:cNvPr id="20" name="Diagram 19"/>
          <p:cNvGraphicFramePr/>
          <p:nvPr/>
        </p:nvGraphicFramePr>
        <p:xfrm>
          <a:off x="2714626" y="2171303"/>
          <a:ext cx="7591424" cy="36040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69640" name="TextBox 26"/>
          <p:cNvSpPr txBox="1">
            <a:spLocks noChangeArrowheads="1"/>
          </p:cNvSpPr>
          <p:nvPr/>
        </p:nvSpPr>
        <p:spPr bwMode="auto">
          <a:xfrm>
            <a:off x="2984500" y="1295400"/>
            <a:ext cx="71755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chemeClr val="bg1"/>
                </a:solidFill>
                <a:latin typeface="Arial" charset="0"/>
                <a:cs typeface="Arial" charset="0"/>
              </a:rPr>
              <a:t>SISTEMA INCENTIVOS QUALIFICAÇÃO PME</a:t>
            </a:r>
          </a:p>
        </p:txBody>
      </p:sp>
      <p:sp>
        <p:nvSpPr>
          <p:cNvPr id="3" name="Pentagon 2"/>
          <p:cNvSpPr/>
          <p:nvPr/>
        </p:nvSpPr>
        <p:spPr>
          <a:xfrm rot="5400000">
            <a:off x="6348610" y="-1938136"/>
            <a:ext cx="447280" cy="7848600"/>
          </a:xfrm>
          <a:prstGeom prst="homePlate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>
              <a:defRPr/>
            </a:pPr>
            <a:r>
              <a:rPr lang="pt-PT" sz="1800" dirty="0">
                <a:latin typeface="Arial" pitchFamily="34" charset="0"/>
                <a:cs typeface="Arial" pitchFamily="34" charset="0"/>
              </a:rPr>
              <a:t>MODALIDADE CANDIDATURA E INCENTIVO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71682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683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684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1536700" y="350838"/>
            <a:ext cx="5214938" cy="6040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aphicFrame>
        <p:nvGraphicFramePr>
          <p:cNvPr id="20" name="Diagram 19"/>
          <p:cNvGraphicFramePr/>
          <p:nvPr/>
        </p:nvGraphicFramePr>
        <p:xfrm>
          <a:off x="2714626" y="1924050"/>
          <a:ext cx="7696199" cy="39465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71688" name="TextBox 26"/>
          <p:cNvSpPr txBox="1">
            <a:spLocks noChangeArrowheads="1"/>
          </p:cNvSpPr>
          <p:nvPr/>
        </p:nvSpPr>
        <p:spPr bwMode="auto">
          <a:xfrm>
            <a:off x="2984500" y="1295400"/>
            <a:ext cx="71755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chemeClr val="bg1"/>
                </a:solidFill>
                <a:latin typeface="Arial" charset="0"/>
                <a:cs typeface="Arial" charset="0"/>
              </a:rPr>
              <a:t>SISTEMA INCENTIVOS QUALIFICAÇÃO PME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18434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5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6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774700" y="71438"/>
            <a:ext cx="4514850" cy="6345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aphicFrame>
        <p:nvGraphicFramePr>
          <p:cNvPr id="10" name="Diagram 9"/>
          <p:cNvGraphicFramePr/>
          <p:nvPr/>
        </p:nvGraphicFramePr>
        <p:xfrm>
          <a:off x="2666860" y="1760865"/>
          <a:ext cx="7108705" cy="45162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73730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731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732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1536700" y="350838"/>
            <a:ext cx="5214938" cy="6040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aphicFrame>
        <p:nvGraphicFramePr>
          <p:cNvPr id="20" name="Diagram 19"/>
          <p:cNvGraphicFramePr/>
          <p:nvPr/>
        </p:nvGraphicFramePr>
        <p:xfrm>
          <a:off x="2714626" y="2133600"/>
          <a:ext cx="7696199" cy="3648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73736" name="TextBox 26"/>
          <p:cNvSpPr txBox="1">
            <a:spLocks noChangeArrowheads="1"/>
          </p:cNvSpPr>
          <p:nvPr/>
        </p:nvSpPr>
        <p:spPr bwMode="auto">
          <a:xfrm>
            <a:off x="2984500" y="1295400"/>
            <a:ext cx="71755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chemeClr val="bg1"/>
                </a:solidFill>
                <a:latin typeface="Arial" charset="0"/>
                <a:cs typeface="Arial" charset="0"/>
              </a:rPr>
              <a:t>SISTEMA INCENTIVOS QUALIFICAÇÃO PME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2743200" y="1695450"/>
            <a:ext cx="7105650" cy="360363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PT" dirty="0">
                <a:latin typeface="Arial" pitchFamily="34" charset="0"/>
                <a:cs typeface="Arial" pitchFamily="34" charset="0"/>
              </a:rPr>
              <a:t>RESULTADOS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75778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5779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5780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1536700" y="350838"/>
            <a:ext cx="5214938" cy="6040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aphicFrame>
        <p:nvGraphicFramePr>
          <p:cNvPr id="20" name="Diagram 19"/>
          <p:cNvGraphicFramePr/>
          <p:nvPr/>
        </p:nvGraphicFramePr>
        <p:xfrm>
          <a:off x="2714626" y="2133600"/>
          <a:ext cx="7696199" cy="3648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75784" name="TextBox 26"/>
          <p:cNvSpPr txBox="1">
            <a:spLocks noChangeArrowheads="1"/>
          </p:cNvSpPr>
          <p:nvPr/>
        </p:nvSpPr>
        <p:spPr bwMode="auto">
          <a:xfrm>
            <a:off x="2984500" y="1295400"/>
            <a:ext cx="71755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chemeClr val="bg1"/>
                </a:solidFill>
                <a:latin typeface="Arial" charset="0"/>
                <a:cs typeface="Arial" charset="0"/>
              </a:rPr>
              <a:t>SISTEMA INCENTIVOS QUALIFICAÇÃO PME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77826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7827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7828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1536700" y="350838"/>
            <a:ext cx="5214938" cy="6040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aphicFrame>
        <p:nvGraphicFramePr>
          <p:cNvPr id="20" name="Diagram 19"/>
          <p:cNvGraphicFramePr/>
          <p:nvPr/>
        </p:nvGraphicFramePr>
        <p:xfrm>
          <a:off x="2714626" y="2133600"/>
          <a:ext cx="7696199" cy="3648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77832" name="TextBox 26"/>
          <p:cNvSpPr txBox="1">
            <a:spLocks noChangeArrowheads="1"/>
          </p:cNvSpPr>
          <p:nvPr/>
        </p:nvSpPr>
        <p:spPr bwMode="auto">
          <a:xfrm>
            <a:off x="2984500" y="1295400"/>
            <a:ext cx="71755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chemeClr val="bg1"/>
                </a:solidFill>
                <a:latin typeface="Arial" charset="0"/>
                <a:cs typeface="Arial" charset="0"/>
              </a:rPr>
              <a:t>SISTEMA INCENTIVOS QUALIFICAÇÃO PME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954900">
            <a:off x="-1171575" y="-1595438"/>
            <a:ext cx="13104813" cy="929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"/>
          <p:cNvGrpSpPr>
            <a:grpSpLocks/>
          </p:cNvGrpSpPr>
          <p:nvPr/>
        </p:nvGrpSpPr>
        <p:grpSpPr bwMode="auto">
          <a:xfrm>
            <a:off x="-173038" y="1979613"/>
            <a:ext cx="11112501" cy="4778375"/>
            <a:chOff x="-173038" y="1979613"/>
            <a:chExt cx="11112501" cy="4778375"/>
          </a:xfrm>
        </p:grpSpPr>
        <p:pic>
          <p:nvPicPr>
            <p:cNvPr id="79878" name="Picture 10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-173038" y="5851525"/>
              <a:ext cx="10799763" cy="906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9879" name="Picture 3"/>
            <p:cNvPicPr>
              <a:picLocks noChangeAspect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314325" y="1979613"/>
              <a:ext cx="10625138" cy="45196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8" name="Picture 1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609850" y="-274638"/>
            <a:ext cx="5540375" cy="6927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6" dur="indefinite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7" dur="indefinite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81922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23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24" name="Picture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2049463" y="-66675"/>
            <a:ext cx="8775701" cy="1074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aphicFrame>
        <p:nvGraphicFramePr>
          <p:cNvPr id="6" name="Diagrama 5"/>
          <p:cNvGraphicFramePr/>
          <p:nvPr/>
        </p:nvGraphicFramePr>
        <p:xfrm>
          <a:off x="2886604" y="1283405"/>
          <a:ext cx="7199842" cy="47998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83970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971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972" name="Picture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2049463" y="-66675"/>
            <a:ext cx="8775701" cy="1074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3975" name="TextBox 23"/>
          <p:cNvSpPr txBox="1">
            <a:spLocks noChangeArrowheads="1"/>
          </p:cNvSpPr>
          <p:nvPr/>
        </p:nvSpPr>
        <p:spPr bwMode="auto">
          <a:xfrm>
            <a:off x="4010025" y="2190750"/>
            <a:ext cx="5534025" cy="344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ASSOCIAÇÕES EMPRESARIAIS</a:t>
            </a:r>
          </a:p>
          <a:p>
            <a:pPr marL="342900" indent="-342900">
              <a:buFont typeface="Arial" charset="0"/>
              <a:buChar char="•"/>
            </a:pPr>
            <a:endParaRPr lang="pt-PT" b="1">
              <a:solidFill>
                <a:srgbClr val="E47823"/>
              </a:solidFill>
              <a:latin typeface="Arial" charset="0"/>
              <a:cs typeface="Arial" charset="0"/>
            </a:endParaRPr>
          </a:p>
          <a:p>
            <a:pPr marL="342900" indent="-342900"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ENTIDADES PÚBLICAS COM COMPETÊNCIAS NO DOMÍNIO EMPRESARIAL</a:t>
            </a:r>
          </a:p>
          <a:p>
            <a:pPr marL="342900" indent="-342900">
              <a:buFont typeface="Arial" charset="0"/>
              <a:buChar char="•"/>
            </a:pPr>
            <a:endParaRPr lang="pt-PT" b="1">
              <a:solidFill>
                <a:srgbClr val="E47823"/>
              </a:solidFill>
              <a:latin typeface="Arial" charset="0"/>
              <a:cs typeface="Arial" charset="0"/>
            </a:endParaRPr>
          </a:p>
          <a:p>
            <a:pPr marL="342900" indent="-342900"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ENTIDADES DO SCTN</a:t>
            </a:r>
          </a:p>
          <a:p>
            <a:pPr marL="342900" indent="-342900">
              <a:buFont typeface="Arial" charset="0"/>
              <a:buChar char="•"/>
            </a:pPr>
            <a:endParaRPr lang="pt-PT" b="1">
              <a:solidFill>
                <a:srgbClr val="E47823"/>
              </a:solidFill>
              <a:latin typeface="Arial" charset="0"/>
              <a:cs typeface="Arial" charset="0"/>
            </a:endParaRPr>
          </a:p>
          <a:p>
            <a:pPr marL="342900" indent="-342900"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OUTRAS ENTIDADES PRIVADAS SEM FINS LUCRATIVOS e COM FINS DE INTERESSE PÚBLICO</a:t>
            </a:r>
            <a:endParaRPr lang="en-US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83976" name="TextBox 26"/>
          <p:cNvSpPr txBox="1">
            <a:spLocks noChangeArrowheads="1"/>
          </p:cNvSpPr>
          <p:nvPr/>
        </p:nvSpPr>
        <p:spPr bwMode="auto">
          <a:xfrm>
            <a:off x="2984500" y="1295400"/>
            <a:ext cx="71755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SISTEMA DE APOIO A AÇÕES COLETIVAS - </a:t>
            </a:r>
            <a:r>
              <a:rPr lang="pt-PT" sz="3200" b="1">
                <a:solidFill>
                  <a:srgbClr val="E47823"/>
                </a:solidFill>
                <a:latin typeface="Arial" charset="0"/>
                <a:cs typeface="Arial" charset="0"/>
              </a:rPr>
              <a:t>SIAC</a:t>
            </a:r>
            <a:endParaRPr lang="tr-TR" sz="3200" b="1">
              <a:solidFill>
                <a:srgbClr val="E47823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Rectângulo 1"/>
          <p:cNvSpPr/>
          <p:nvPr/>
        </p:nvSpPr>
        <p:spPr>
          <a:xfrm>
            <a:off x="2835275" y="2266950"/>
            <a:ext cx="752475" cy="353377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vert270" anchor="ctr"/>
          <a:lstStyle/>
          <a:p>
            <a:pPr algn="ctr">
              <a:defRPr/>
            </a:pPr>
            <a:r>
              <a:rPr lang="pt-PT" dirty="0"/>
              <a:t>Beneficiários diretos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86018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6019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6020" name="Picture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2049463" y="-66675"/>
            <a:ext cx="8775701" cy="1074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6023" name="TextBox 23"/>
          <p:cNvSpPr txBox="1">
            <a:spLocks noChangeArrowheads="1"/>
          </p:cNvSpPr>
          <p:nvPr/>
        </p:nvSpPr>
        <p:spPr bwMode="auto">
          <a:xfrm>
            <a:off x="4137025" y="2600325"/>
            <a:ext cx="5391150" cy="314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SUPRESSÃO DE FALHAS DE (MERCADO, SISTEMA, PROCESSO) DE INTERESSE COMUM</a:t>
            </a:r>
          </a:p>
          <a:p>
            <a:pPr marL="342900" indent="-342900">
              <a:buFont typeface="Arial" charset="0"/>
              <a:buChar char="•"/>
            </a:pPr>
            <a:endParaRPr lang="pt-PT" b="1">
              <a:solidFill>
                <a:srgbClr val="E47823"/>
              </a:solidFill>
              <a:latin typeface="Arial" charset="0"/>
              <a:cs typeface="Arial" charset="0"/>
            </a:endParaRPr>
          </a:p>
          <a:p>
            <a:pPr marL="342900" indent="-342900"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GERAÇÃO DE PRODUTOS E SERVIÇOS DE ACESSO UNIVERSAL</a:t>
            </a:r>
          </a:p>
          <a:p>
            <a:pPr marL="342900" indent="-342900">
              <a:buFont typeface="Arial" charset="0"/>
              <a:buChar char="•"/>
            </a:pPr>
            <a:endParaRPr lang="pt-PT" b="1">
              <a:solidFill>
                <a:srgbClr val="E47823"/>
              </a:solidFill>
              <a:latin typeface="Arial" charset="0"/>
              <a:cs typeface="Arial" charset="0"/>
            </a:endParaRPr>
          </a:p>
          <a:p>
            <a:pPr marL="342900" indent="-342900"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IMPACTO E EFEITO DE ARRASTAMENTO ALARGADO NA ECONOMIA</a:t>
            </a:r>
          </a:p>
        </p:txBody>
      </p:sp>
      <p:sp>
        <p:nvSpPr>
          <p:cNvPr id="86024" name="TextBox 26"/>
          <p:cNvSpPr txBox="1">
            <a:spLocks noChangeArrowheads="1"/>
          </p:cNvSpPr>
          <p:nvPr/>
        </p:nvSpPr>
        <p:spPr bwMode="auto">
          <a:xfrm>
            <a:off x="2984500" y="1295400"/>
            <a:ext cx="71755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SISTEMA DE APOIO A AÇÕES COLETIVAS - </a:t>
            </a:r>
            <a:r>
              <a:rPr lang="pt-PT" sz="3200" b="1">
                <a:solidFill>
                  <a:srgbClr val="E47823"/>
                </a:solidFill>
                <a:latin typeface="Arial" charset="0"/>
                <a:cs typeface="Arial" charset="0"/>
              </a:rPr>
              <a:t>SIAC</a:t>
            </a:r>
            <a:endParaRPr lang="tr-TR" sz="3200" b="1">
              <a:solidFill>
                <a:srgbClr val="E47823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Rectângulo 1"/>
          <p:cNvSpPr/>
          <p:nvPr/>
        </p:nvSpPr>
        <p:spPr>
          <a:xfrm>
            <a:off x="2771775" y="2266950"/>
            <a:ext cx="752475" cy="353377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vert270" anchor="ctr"/>
          <a:lstStyle/>
          <a:p>
            <a:pPr algn="ctr">
              <a:defRPr/>
            </a:pPr>
            <a:r>
              <a:rPr lang="pt-PT" dirty="0"/>
              <a:t>Objetivos dos projetos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88066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8067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8068" name="Picture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2049463" y="-66675"/>
            <a:ext cx="8775701" cy="1074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8071" name="TextBox 26"/>
          <p:cNvSpPr txBox="1">
            <a:spLocks noChangeArrowheads="1"/>
          </p:cNvSpPr>
          <p:nvPr/>
        </p:nvSpPr>
        <p:spPr bwMode="auto">
          <a:xfrm>
            <a:off x="2984500" y="1295400"/>
            <a:ext cx="71755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SISTEMA DE APOIO A AÇÕES COLETIVAS - </a:t>
            </a:r>
            <a:r>
              <a:rPr lang="pt-PT" sz="3200" b="1">
                <a:solidFill>
                  <a:srgbClr val="E47823"/>
                </a:solidFill>
                <a:latin typeface="Arial" charset="0"/>
                <a:cs typeface="Arial" charset="0"/>
              </a:rPr>
              <a:t>SIAC</a:t>
            </a:r>
            <a:endParaRPr lang="tr-TR" sz="3200" b="1">
              <a:solidFill>
                <a:srgbClr val="E47823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Rectângulo 1"/>
          <p:cNvSpPr/>
          <p:nvPr/>
        </p:nvSpPr>
        <p:spPr>
          <a:xfrm>
            <a:off x="2740025" y="2266950"/>
            <a:ext cx="752475" cy="353377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vert270" anchor="ctr"/>
          <a:lstStyle/>
          <a:p>
            <a:pPr algn="ctr">
              <a:defRPr/>
            </a:pPr>
            <a:r>
              <a:rPr lang="pt-PT" dirty="0"/>
              <a:t>Resultados</a:t>
            </a:r>
          </a:p>
        </p:txBody>
      </p:sp>
      <p:graphicFrame>
        <p:nvGraphicFramePr>
          <p:cNvPr id="12" name="Gráfico 11"/>
          <p:cNvGraphicFramePr>
            <a:graphicFrameLocks/>
          </p:cNvGraphicFramePr>
          <p:nvPr/>
        </p:nvGraphicFramePr>
        <p:xfrm>
          <a:off x="3629556" y="1884799"/>
          <a:ext cx="6859987" cy="45272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90114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0115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0116" name="Picture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2049463" y="-66675"/>
            <a:ext cx="8775701" cy="1074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0119" name="TextBox 26"/>
          <p:cNvSpPr txBox="1">
            <a:spLocks noChangeArrowheads="1"/>
          </p:cNvSpPr>
          <p:nvPr/>
        </p:nvSpPr>
        <p:spPr bwMode="auto">
          <a:xfrm>
            <a:off x="2984500" y="1295400"/>
            <a:ext cx="71755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SISTEMA DE APOIO A AÇÕES COLETIVAS - </a:t>
            </a:r>
            <a:r>
              <a:rPr lang="pt-PT" sz="3200" b="1">
                <a:solidFill>
                  <a:srgbClr val="E47823"/>
                </a:solidFill>
                <a:latin typeface="Arial" charset="0"/>
                <a:cs typeface="Arial" charset="0"/>
              </a:rPr>
              <a:t>SIAC</a:t>
            </a:r>
            <a:endParaRPr lang="tr-TR" sz="3200" b="1">
              <a:solidFill>
                <a:srgbClr val="E47823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Rectângulo 1"/>
          <p:cNvSpPr/>
          <p:nvPr/>
        </p:nvSpPr>
        <p:spPr>
          <a:xfrm>
            <a:off x="2771775" y="2266950"/>
            <a:ext cx="752475" cy="353377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vert270" anchor="ctr"/>
          <a:lstStyle/>
          <a:p>
            <a:pPr algn="ctr">
              <a:defRPr/>
            </a:pPr>
            <a:r>
              <a:rPr lang="pt-PT" dirty="0"/>
              <a:t>Resultados</a:t>
            </a:r>
          </a:p>
        </p:txBody>
      </p:sp>
      <p:graphicFrame>
        <p:nvGraphicFramePr>
          <p:cNvPr id="13" name="Gráfico 12"/>
          <p:cNvGraphicFramePr>
            <a:graphicFrameLocks/>
          </p:cNvGraphicFramePr>
          <p:nvPr/>
        </p:nvGraphicFramePr>
        <p:xfrm>
          <a:off x="3042018" y="1613365"/>
          <a:ext cx="7449401" cy="4804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92162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163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164" name="Picture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2049463" y="-66675"/>
            <a:ext cx="8775701" cy="1074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2167" name="TextBox 23"/>
          <p:cNvSpPr txBox="1">
            <a:spLocks noChangeArrowheads="1"/>
          </p:cNvSpPr>
          <p:nvPr/>
        </p:nvSpPr>
        <p:spPr bwMode="auto">
          <a:xfrm>
            <a:off x="3757613" y="2268538"/>
            <a:ext cx="5942012" cy="3749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spcAft>
                <a:spcPts val="1200"/>
              </a:spcAft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Inovação e empreendedorismo </a:t>
            </a:r>
          </a:p>
          <a:p>
            <a:pPr marL="342900" indent="-342900">
              <a:spcAft>
                <a:spcPts val="1200"/>
              </a:spcAft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Internacionalização, conhecimento e acesso a mercados </a:t>
            </a:r>
          </a:p>
          <a:p>
            <a:pPr marL="342900" indent="-342900">
              <a:spcAft>
                <a:spcPts val="1200"/>
              </a:spcAft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Valorização da oferta nacional</a:t>
            </a:r>
          </a:p>
          <a:p>
            <a:pPr marL="342900" indent="-342900">
              <a:spcAft>
                <a:spcPts val="1200"/>
              </a:spcAft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Energia e ambiente </a:t>
            </a:r>
          </a:p>
          <a:p>
            <a:pPr marL="342900" indent="-342900">
              <a:spcAft>
                <a:spcPts val="1200"/>
              </a:spcAft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Informação orientada para PME</a:t>
            </a:r>
          </a:p>
          <a:p>
            <a:pPr marL="342900" indent="-342900">
              <a:spcAft>
                <a:spcPts val="1200"/>
              </a:spcAft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Representação em organizações internacionais</a:t>
            </a:r>
          </a:p>
          <a:p>
            <a:pPr marL="342900" indent="-342900">
              <a:spcAft>
                <a:spcPts val="1200"/>
              </a:spcAft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Redes e cooperação internacional</a:t>
            </a:r>
          </a:p>
        </p:txBody>
      </p:sp>
      <p:sp>
        <p:nvSpPr>
          <p:cNvPr id="92168" name="TextBox 26"/>
          <p:cNvSpPr txBox="1">
            <a:spLocks noChangeArrowheads="1"/>
          </p:cNvSpPr>
          <p:nvPr/>
        </p:nvSpPr>
        <p:spPr bwMode="auto">
          <a:xfrm>
            <a:off x="2984500" y="1295400"/>
            <a:ext cx="71755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SISTEMA DE APOIO A AÇÕES COLETIVAS - </a:t>
            </a:r>
            <a:r>
              <a:rPr lang="pt-PT" sz="3200" b="1">
                <a:solidFill>
                  <a:srgbClr val="E47823"/>
                </a:solidFill>
                <a:latin typeface="Arial" charset="0"/>
                <a:cs typeface="Arial" charset="0"/>
              </a:rPr>
              <a:t>SIAC</a:t>
            </a:r>
            <a:endParaRPr lang="tr-TR" sz="3200" b="1">
              <a:solidFill>
                <a:srgbClr val="E47823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Rectângulo 1"/>
          <p:cNvSpPr/>
          <p:nvPr/>
        </p:nvSpPr>
        <p:spPr>
          <a:xfrm>
            <a:off x="2740025" y="2269181"/>
            <a:ext cx="752475" cy="378565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vert270" anchor="ctr"/>
          <a:lstStyle/>
          <a:p>
            <a:pPr algn="ctr">
              <a:defRPr/>
            </a:pPr>
            <a:r>
              <a:rPr lang="pt-PT" dirty="0"/>
              <a:t>Prioridades temáticas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20482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3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4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774700" y="71438"/>
            <a:ext cx="4514850" cy="6345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pt-PT" dirty="0"/>
          </a:p>
        </p:txBody>
      </p:sp>
      <p:grpSp>
        <p:nvGrpSpPr>
          <p:cNvPr id="20487" name="Group 3"/>
          <p:cNvGrpSpPr>
            <a:grpSpLocks/>
          </p:cNvGrpSpPr>
          <p:nvPr/>
        </p:nvGrpSpPr>
        <p:grpSpPr bwMode="auto">
          <a:xfrm>
            <a:off x="3348038" y="1179513"/>
            <a:ext cx="6164262" cy="5135562"/>
            <a:chOff x="3740394" y="2116759"/>
            <a:chExt cx="4814759" cy="4193099"/>
          </a:xfrm>
        </p:grpSpPr>
        <p:grpSp>
          <p:nvGrpSpPr>
            <p:cNvPr id="20488" name="Group 39"/>
            <p:cNvGrpSpPr>
              <a:grpSpLocks/>
            </p:cNvGrpSpPr>
            <p:nvPr/>
          </p:nvGrpSpPr>
          <p:grpSpPr bwMode="auto">
            <a:xfrm>
              <a:off x="3990208" y="2327815"/>
              <a:ext cx="4261836" cy="3787474"/>
              <a:chOff x="2246370" y="1584262"/>
              <a:chExt cx="4622072" cy="4069466"/>
            </a:xfrm>
          </p:grpSpPr>
          <p:sp>
            <p:nvSpPr>
              <p:cNvPr id="20490" name="Freeform 8"/>
              <p:cNvSpPr>
                <a:spLocks/>
              </p:cNvSpPr>
              <p:nvPr/>
            </p:nvSpPr>
            <p:spPr bwMode="blackWhite">
              <a:xfrm>
                <a:off x="3685913" y="4415349"/>
                <a:ext cx="1739374" cy="1238379"/>
              </a:xfrm>
              <a:custGeom>
                <a:avLst/>
                <a:gdLst>
                  <a:gd name="T0" fmla="*/ 2147483647 w 857"/>
                  <a:gd name="T1" fmla="*/ 0 h 584"/>
                  <a:gd name="T2" fmla="*/ 2147483647 w 857"/>
                  <a:gd name="T3" fmla="*/ 0 h 584"/>
                  <a:gd name="T4" fmla="*/ 2147483647 w 857"/>
                  <a:gd name="T5" fmla="*/ 2147483647 h 584"/>
                  <a:gd name="T6" fmla="*/ 2147483647 w 857"/>
                  <a:gd name="T7" fmla="*/ 2147483647 h 584"/>
                  <a:gd name="T8" fmla="*/ 2147483647 w 857"/>
                  <a:gd name="T9" fmla="*/ 2147483647 h 584"/>
                  <a:gd name="T10" fmla="*/ 0 w 857"/>
                  <a:gd name="T11" fmla="*/ 2147483647 h 584"/>
                  <a:gd name="T12" fmla="*/ 2147483647 w 857"/>
                  <a:gd name="T13" fmla="*/ 0 h 58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57"/>
                  <a:gd name="T22" fmla="*/ 0 h 584"/>
                  <a:gd name="T23" fmla="*/ 857 w 857"/>
                  <a:gd name="T24" fmla="*/ 584 h 58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57" h="584">
                    <a:moveTo>
                      <a:pt x="224" y="0"/>
                    </a:moveTo>
                    <a:lnTo>
                      <a:pt x="648" y="0"/>
                    </a:lnTo>
                    <a:lnTo>
                      <a:pt x="856" y="295"/>
                    </a:lnTo>
                    <a:lnTo>
                      <a:pt x="648" y="583"/>
                    </a:lnTo>
                    <a:lnTo>
                      <a:pt x="224" y="583"/>
                    </a:lnTo>
                    <a:lnTo>
                      <a:pt x="0" y="295"/>
                    </a:lnTo>
                    <a:lnTo>
                      <a:pt x="224" y="0"/>
                    </a:lnTo>
                  </a:path>
                </a:pathLst>
              </a:custGeom>
              <a:solidFill>
                <a:srgbClr val="0070C0">
                  <a:alpha val="79999"/>
                </a:srgbClr>
              </a:solidFill>
              <a:ln w="12700" cap="rnd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pt-PT"/>
              </a:p>
            </p:txBody>
          </p:sp>
          <p:grpSp>
            <p:nvGrpSpPr>
              <p:cNvPr id="20491" name="Group 41"/>
              <p:cNvGrpSpPr>
                <a:grpSpLocks/>
              </p:cNvGrpSpPr>
              <p:nvPr/>
            </p:nvGrpSpPr>
            <p:grpSpPr bwMode="auto">
              <a:xfrm>
                <a:off x="2246370" y="1584262"/>
                <a:ext cx="4622072" cy="3869440"/>
                <a:chOff x="2246370" y="1584262"/>
                <a:chExt cx="4622072" cy="3869440"/>
              </a:xfrm>
            </p:grpSpPr>
            <p:sp>
              <p:nvSpPr>
                <p:cNvPr id="20492" name="Freeform 2"/>
                <p:cNvSpPr>
                  <a:spLocks/>
                </p:cNvSpPr>
                <p:nvPr/>
              </p:nvSpPr>
              <p:spPr bwMode="blackWhite">
                <a:xfrm>
                  <a:off x="2246370" y="2296463"/>
                  <a:ext cx="1733955" cy="1238379"/>
                </a:xfrm>
                <a:custGeom>
                  <a:avLst/>
                  <a:gdLst>
                    <a:gd name="T0" fmla="*/ 2147483647 w 856"/>
                    <a:gd name="T1" fmla="*/ 0 h 584"/>
                    <a:gd name="T2" fmla="*/ 2147483647 w 856"/>
                    <a:gd name="T3" fmla="*/ 0 h 584"/>
                    <a:gd name="T4" fmla="*/ 2147483647 w 856"/>
                    <a:gd name="T5" fmla="*/ 2147483647 h 584"/>
                    <a:gd name="T6" fmla="*/ 2147483647 w 856"/>
                    <a:gd name="T7" fmla="*/ 2147483647 h 584"/>
                    <a:gd name="T8" fmla="*/ 2147483647 w 856"/>
                    <a:gd name="T9" fmla="*/ 2147483647 h 584"/>
                    <a:gd name="T10" fmla="*/ 0 w 856"/>
                    <a:gd name="T11" fmla="*/ 2147483647 h 584"/>
                    <a:gd name="T12" fmla="*/ 2147483647 w 856"/>
                    <a:gd name="T13" fmla="*/ 0 h 58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56"/>
                    <a:gd name="T22" fmla="*/ 0 h 584"/>
                    <a:gd name="T23" fmla="*/ 856 w 856"/>
                    <a:gd name="T24" fmla="*/ 584 h 58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56" h="584">
                      <a:moveTo>
                        <a:pt x="224" y="0"/>
                      </a:moveTo>
                      <a:lnTo>
                        <a:pt x="647" y="0"/>
                      </a:lnTo>
                      <a:lnTo>
                        <a:pt x="855" y="295"/>
                      </a:lnTo>
                      <a:lnTo>
                        <a:pt x="647" y="583"/>
                      </a:lnTo>
                      <a:lnTo>
                        <a:pt x="224" y="583"/>
                      </a:lnTo>
                      <a:lnTo>
                        <a:pt x="0" y="295"/>
                      </a:lnTo>
                      <a:lnTo>
                        <a:pt x="224" y="0"/>
                      </a:lnTo>
                    </a:path>
                  </a:pathLst>
                </a:custGeom>
                <a:solidFill>
                  <a:srgbClr val="009900">
                    <a:alpha val="79999"/>
                  </a:srgbClr>
                </a:solidFill>
                <a:ln w="12700" cap="rnd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/>
                </a:p>
              </p:txBody>
            </p:sp>
            <p:sp>
              <p:nvSpPr>
                <p:cNvPr id="20493" name="Freeform 3"/>
                <p:cNvSpPr>
                  <a:spLocks/>
                </p:cNvSpPr>
                <p:nvPr/>
              </p:nvSpPr>
              <p:spPr bwMode="blackWhite">
                <a:xfrm>
                  <a:off x="3685913" y="1584262"/>
                  <a:ext cx="1739374" cy="1238379"/>
                </a:xfrm>
                <a:custGeom>
                  <a:avLst/>
                  <a:gdLst>
                    <a:gd name="T0" fmla="*/ 2147483647 w 857"/>
                    <a:gd name="T1" fmla="*/ 0 h 584"/>
                    <a:gd name="T2" fmla="*/ 2147483647 w 857"/>
                    <a:gd name="T3" fmla="*/ 0 h 584"/>
                    <a:gd name="T4" fmla="*/ 2147483647 w 857"/>
                    <a:gd name="T5" fmla="*/ 2147483647 h 584"/>
                    <a:gd name="T6" fmla="*/ 2147483647 w 857"/>
                    <a:gd name="T7" fmla="*/ 2147483647 h 584"/>
                    <a:gd name="T8" fmla="*/ 2147483647 w 857"/>
                    <a:gd name="T9" fmla="*/ 2147483647 h 584"/>
                    <a:gd name="T10" fmla="*/ 0 w 857"/>
                    <a:gd name="T11" fmla="*/ 2147483647 h 584"/>
                    <a:gd name="T12" fmla="*/ 2147483647 w 857"/>
                    <a:gd name="T13" fmla="*/ 0 h 58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57"/>
                    <a:gd name="T22" fmla="*/ 0 h 584"/>
                    <a:gd name="T23" fmla="*/ 857 w 857"/>
                    <a:gd name="T24" fmla="*/ 584 h 58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57" h="584">
                      <a:moveTo>
                        <a:pt x="224" y="0"/>
                      </a:moveTo>
                      <a:lnTo>
                        <a:pt x="648" y="0"/>
                      </a:lnTo>
                      <a:lnTo>
                        <a:pt x="856" y="296"/>
                      </a:lnTo>
                      <a:lnTo>
                        <a:pt x="648" y="583"/>
                      </a:lnTo>
                      <a:lnTo>
                        <a:pt x="224" y="583"/>
                      </a:lnTo>
                      <a:lnTo>
                        <a:pt x="0" y="296"/>
                      </a:lnTo>
                      <a:lnTo>
                        <a:pt x="224" y="0"/>
                      </a:lnTo>
                    </a:path>
                  </a:pathLst>
                </a:custGeom>
                <a:solidFill>
                  <a:srgbClr val="009900">
                    <a:alpha val="79999"/>
                  </a:srgbClr>
                </a:solidFill>
                <a:ln w="12700" cap="rnd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/>
                </a:p>
              </p:txBody>
            </p:sp>
            <p:sp>
              <p:nvSpPr>
                <p:cNvPr id="20494" name="Freeform 4"/>
                <p:cNvSpPr>
                  <a:spLocks/>
                </p:cNvSpPr>
                <p:nvPr/>
              </p:nvSpPr>
              <p:spPr bwMode="blackWhite">
                <a:xfrm>
                  <a:off x="5132682" y="2296463"/>
                  <a:ext cx="1735760" cy="1238379"/>
                </a:xfrm>
                <a:custGeom>
                  <a:avLst/>
                  <a:gdLst>
                    <a:gd name="T0" fmla="*/ 2147483647 w 856"/>
                    <a:gd name="T1" fmla="*/ 0 h 584"/>
                    <a:gd name="T2" fmla="*/ 2147483647 w 856"/>
                    <a:gd name="T3" fmla="*/ 0 h 584"/>
                    <a:gd name="T4" fmla="*/ 2147483647 w 856"/>
                    <a:gd name="T5" fmla="*/ 2147483647 h 584"/>
                    <a:gd name="T6" fmla="*/ 2147483647 w 856"/>
                    <a:gd name="T7" fmla="*/ 2147483647 h 584"/>
                    <a:gd name="T8" fmla="*/ 2147483647 w 856"/>
                    <a:gd name="T9" fmla="*/ 2147483647 h 584"/>
                    <a:gd name="T10" fmla="*/ 0 w 856"/>
                    <a:gd name="T11" fmla="*/ 2147483647 h 584"/>
                    <a:gd name="T12" fmla="*/ 2147483647 w 856"/>
                    <a:gd name="T13" fmla="*/ 0 h 58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56"/>
                    <a:gd name="T22" fmla="*/ 0 h 584"/>
                    <a:gd name="T23" fmla="*/ 856 w 856"/>
                    <a:gd name="T24" fmla="*/ 584 h 58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56" h="584">
                      <a:moveTo>
                        <a:pt x="224" y="0"/>
                      </a:moveTo>
                      <a:lnTo>
                        <a:pt x="647" y="0"/>
                      </a:lnTo>
                      <a:lnTo>
                        <a:pt x="855" y="295"/>
                      </a:lnTo>
                      <a:lnTo>
                        <a:pt x="647" y="583"/>
                      </a:lnTo>
                      <a:lnTo>
                        <a:pt x="224" y="583"/>
                      </a:lnTo>
                      <a:lnTo>
                        <a:pt x="0" y="295"/>
                      </a:lnTo>
                      <a:lnTo>
                        <a:pt x="224" y="0"/>
                      </a:lnTo>
                    </a:path>
                  </a:pathLst>
                </a:custGeom>
                <a:solidFill>
                  <a:srgbClr val="009900">
                    <a:alpha val="79999"/>
                  </a:srgbClr>
                </a:solidFill>
                <a:ln w="12700" cap="rnd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/>
                </a:p>
              </p:txBody>
            </p:sp>
            <p:sp>
              <p:nvSpPr>
                <p:cNvPr id="20495" name="Freeform 5"/>
                <p:cNvSpPr>
                  <a:spLocks/>
                </p:cNvSpPr>
                <p:nvPr/>
              </p:nvSpPr>
              <p:spPr bwMode="blackWhite">
                <a:xfrm>
                  <a:off x="2246370" y="3719092"/>
                  <a:ext cx="1733955" cy="1222434"/>
                </a:xfrm>
                <a:custGeom>
                  <a:avLst/>
                  <a:gdLst>
                    <a:gd name="T0" fmla="*/ 2147483647 w 856"/>
                    <a:gd name="T1" fmla="*/ 0 h 576"/>
                    <a:gd name="T2" fmla="*/ 2147483647 w 856"/>
                    <a:gd name="T3" fmla="*/ 0 h 576"/>
                    <a:gd name="T4" fmla="*/ 2147483647 w 856"/>
                    <a:gd name="T5" fmla="*/ 2147483647 h 576"/>
                    <a:gd name="T6" fmla="*/ 2147483647 w 856"/>
                    <a:gd name="T7" fmla="*/ 2147483647 h 576"/>
                    <a:gd name="T8" fmla="*/ 2147483647 w 856"/>
                    <a:gd name="T9" fmla="*/ 2147483647 h 576"/>
                    <a:gd name="T10" fmla="*/ 0 w 856"/>
                    <a:gd name="T11" fmla="*/ 2147483647 h 576"/>
                    <a:gd name="T12" fmla="*/ 2147483647 w 856"/>
                    <a:gd name="T13" fmla="*/ 0 h 57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56"/>
                    <a:gd name="T22" fmla="*/ 0 h 576"/>
                    <a:gd name="T23" fmla="*/ 856 w 856"/>
                    <a:gd name="T24" fmla="*/ 576 h 57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56" h="576">
                      <a:moveTo>
                        <a:pt x="224" y="0"/>
                      </a:moveTo>
                      <a:lnTo>
                        <a:pt x="647" y="0"/>
                      </a:lnTo>
                      <a:lnTo>
                        <a:pt x="855" y="288"/>
                      </a:lnTo>
                      <a:lnTo>
                        <a:pt x="647" y="575"/>
                      </a:lnTo>
                      <a:lnTo>
                        <a:pt x="224" y="575"/>
                      </a:lnTo>
                      <a:lnTo>
                        <a:pt x="0" y="288"/>
                      </a:lnTo>
                      <a:lnTo>
                        <a:pt x="224" y="0"/>
                      </a:lnTo>
                    </a:path>
                  </a:pathLst>
                </a:custGeom>
                <a:solidFill>
                  <a:srgbClr val="009900">
                    <a:alpha val="79999"/>
                  </a:srgbClr>
                </a:solidFill>
                <a:ln w="12700" cap="rnd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/>
                </a:p>
              </p:txBody>
            </p:sp>
            <p:sp>
              <p:nvSpPr>
                <p:cNvPr id="20496" name="Freeform 6"/>
                <p:cNvSpPr>
                  <a:spLocks/>
                </p:cNvSpPr>
                <p:nvPr/>
              </p:nvSpPr>
              <p:spPr bwMode="blackWhite">
                <a:xfrm>
                  <a:off x="3686175" y="3007280"/>
                  <a:ext cx="1739900" cy="1239837"/>
                </a:xfrm>
                <a:custGeom>
                  <a:avLst/>
                  <a:gdLst>
                    <a:gd name="T0" fmla="*/ 2147483647 w 857"/>
                    <a:gd name="T1" fmla="*/ 0 h 585"/>
                    <a:gd name="T2" fmla="*/ 2147483647 w 857"/>
                    <a:gd name="T3" fmla="*/ 0 h 585"/>
                    <a:gd name="T4" fmla="*/ 2147483647 w 857"/>
                    <a:gd name="T5" fmla="*/ 2147483647 h 585"/>
                    <a:gd name="T6" fmla="*/ 2147483647 w 857"/>
                    <a:gd name="T7" fmla="*/ 2147483647 h 585"/>
                    <a:gd name="T8" fmla="*/ 2147483647 w 857"/>
                    <a:gd name="T9" fmla="*/ 2147483647 h 585"/>
                    <a:gd name="T10" fmla="*/ 0 w 857"/>
                    <a:gd name="T11" fmla="*/ 2147483647 h 585"/>
                    <a:gd name="T12" fmla="*/ 2147483647 w 857"/>
                    <a:gd name="T13" fmla="*/ 0 h 58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57"/>
                    <a:gd name="T22" fmla="*/ 0 h 585"/>
                    <a:gd name="T23" fmla="*/ 857 w 857"/>
                    <a:gd name="T24" fmla="*/ 585 h 58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57" h="585">
                      <a:moveTo>
                        <a:pt x="224" y="0"/>
                      </a:moveTo>
                      <a:lnTo>
                        <a:pt x="648" y="0"/>
                      </a:lnTo>
                      <a:lnTo>
                        <a:pt x="856" y="288"/>
                      </a:lnTo>
                      <a:lnTo>
                        <a:pt x="648" y="584"/>
                      </a:lnTo>
                      <a:lnTo>
                        <a:pt x="224" y="584"/>
                      </a:lnTo>
                      <a:lnTo>
                        <a:pt x="0" y="288"/>
                      </a:lnTo>
                      <a:lnTo>
                        <a:pt x="224" y="0"/>
                      </a:lnTo>
                    </a:path>
                  </a:pathLst>
                </a:custGeom>
                <a:solidFill>
                  <a:srgbClr val="76A606"/>
                </a:solidFill>
                <a:ln w="12700" cap="rnd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/>
                </a:p>
              </p:txBody>
            </p:sp>
            <p:sp>
              <p:nvSpPr>
                <p:cNvPr id="20497" name="Freeform 7"/>
                <p:cNvSpPr>
                  <a:spLocks/>
                </p:cNvSpPr>
                <p:nvPr/>
              </p:nvSpPr>
              <p:spPr bwMode="blackWhite">
                <a:xfrm>
                  <a:off x="5132682" y="3719092"/>
                  <a:ext cx="1735760" cy="1222434"/>
                </a:xfrm>
                <a:custGeom>
                  <a:avLst/>
                  <a:gdLst>
                    <a:gd name="T0" fmla="*/ 2147483647 w 856"/>
                    <a:gd name="T1" fmla="*/ 0 h 576"/>
                    <a:gd name="T2" fmla="*/ 2147483647 w 856"/>
                    <a:gd name="T3" fmla="*/ 0 h 576"/>
                    <a:gd name="T4" fmla="*/ 2147483647 w 856"/>
                    <a:gd name="T5" fmla="*/ 2147483647 h 576"/>
                    <a:gd name="T6" fmla="*/ 2147483647 w 856"/>
                    <a:gd name="T7" fmla="*/ 2147483647 h 576"/>
                    <a:gd name="T8" fmla="*/ 2147483647 w 856"/>
                    <a:gd name="T9" fmla="*/ 2147483647 h 576"/>
                    <a:gd name="T10" fmla="*/ 0 w 856"/>
                    <a:gd name="T11" fmla="*/ 2147483647 h 576"/>
                    <a:gd name="T12" fmla="*/ 2147483647 w 856"/>
                    <a:gd name="T13" fmla="*/ 0 h 57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56"/>
                    <a:gd name="T22" fmla="*/ 0 h 576"/>
                    <a:gd name="T23" fmla="*/ 856 w 856"/>
                    <a:gd name="T24" fmla="*/ 576 h 57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56" h="576">
                      <a:moveTo>
                        <a:pt x="224" y="0"/>
                      </a:moveTo>
                      <a:lnTo>
                        <a:pt x="647" y="0"/>
                      </a:lnTo>
                      <a:lnTo>
                        <a:pt x="855" y="288"/>
                      </a:lnTo>
                      <a:lnTo>
                        <a:pt x="647" y="575"/>
                      </a:lnTo>
                      <a:lnTo>
                        <a:pt x="224" y="575"/>
                      </a:lnTo>
                      <a:lnTo>
                        <a:pt x="0" y="288"/>
                      </a:lnTo>
                      <a:lnTo>
                        <a:pt x="224" y="0"/>
                      </a:lnTo>
                    </a:path>
                  </a:pathLst>
                </a:custGeom>
                <a:solidFill>
                  <a:srgbClr val="216032">
                    <a:alpha val="79999"/>
                  </a:srgbClr>
                </a:solidFill>
                <a:ln w="12700" cap="rnd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/>
                </a:p>
              </p:txBody>
            </p:sp>
            <p:sp>
              <p:nvSpPr>
                <p:cNvPr id="20498" name="Text Box 10"/>
                <p:cNvSpPr txBox="1">
                  <a:spLocks noChangeArrowheads="1"/>
                </p:cNvSpPr>
                <p:nvPr/>
              </p:nvSpPr>
              <p:spPr bwMode="gray">
                <a:xfrm>
                  <a:off x="4199715" y="1774667"/>
                  <a:ext cx="712832" cy="858673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 anchorCtr="1">
                  <a:spAutoFit/>
                </a:bodyPr>
                <a:lstStyle/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r>
                    <a:rPr lang="pt-PT" b="1">
                      <a:solidFill>
                        <a:schemeClr val="bg1"/>
                      </a:solidFill>
                      <a:latin typeface="Arial" charset="0"/>
                      <a:cs typeface="Arial" charset="0"/>
                    </a:rPr>
                    <a:t>4 FCR</a:t>
                  </a:r>
                </a:p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r>
                    <a:rPr lang="pt-PT" b="1" i="1">
                      <a:solidFill>
                        <a:schemeClr val="bg1"/>
                      </a:solidFill>
                      <a:latin typeface="Arial" charset="0"/>
                      <a:cs typeface="Arial" charset="0"/>
                    </a:rPr>
                    <a:t>Early</a:t>
                  </a:r>
                </a:p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r>
                    <a:rPr lang="pt-PT" b="1" i="1">
                      <a:solidFill>
                        <a:schemeClr val="bg1"/>
                      </a:solidFill>
                      <a:latin typeface="Arial" charset="0"/>
                      <a:cs typeface="Arial" charset="0"/>
                    </a:rPr>
                    <a:t>Stages</a:t>
                  </a:r>
                </a:p>
              </p:txBody>
            </p:sp>
            <p:sp>
              <p:nvSpPr>
                <p:cNvPr id="20499" name="Text Box 11"/>
                <p:cNvSpPr txBox="1">
                  <a:spLocks noChangeArrowheads="1"/>
                </p:cNvSpPr>
                <p:nvPr/>
              </p:nvSpPr>
              <p:spPr bwMode="gray">
                <a:xfrm>
                  <a:off x="3899160" y="4615336"/>
                  <a:ext cx="1313937" cy="838366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 anchorCtr="1">
                  <a:spAutoFit/>
                </a:bodyPr>
                <a:lstStyle/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r>
                    <a:rPr lang="pt-PT" b="1">
                      <a:solidFill>
                        <a:schemeClr val="bg1"/>
                      </a:solidFill>
                      <a:latin typeface="Arial" charset="0"/>
                      <a:cs typeface="Arial" charset="0"/>
                    </a:rPr>
                    <a:t>53</a:t>
                  </a:r>
                </a:p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r>
                    <a:rPr lang="pt-PT" b="1">
                      <a:solidFill>
                        <a:schemeClr val="bg1"/>
                      </a:solidFill>
                      <a:latin typeface="Arial" charset="0"/>
                      <a:cs typeface="Arial" charset="0"/>
                    </a:rPr>
                    <a:t>Sociedades</a:t>
                  </a:r>
                </a:p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r>
                    <a:rPr lang="pt-PT" b="1">
                      <a:solidFill>
                        <a:schemeClr val="bg1"/>
                      </a:solidFill>
                      <a:latin typeface="Arial" charset="0"/>
                      <a:cs typeface="Arial" charset="0"/>
                    </a:rPr>
                    <a:t>de BA</a:t>
                  </a:r>
                </a:p>
              </p:txBody>
            </p:sp>
            <p:sp>
              <p:nvSpPr>
                <p:cNvPr id="20500" name="Text Box 12"/>
                <p:cNvSpPr txBox="1">
                  <a:spLocks noChangeArrowheads="1"/>
                </p:cNvSpPr>
                <p:nvPr/>
              </p:nvSpPr>
              <p:spPr bwMode="gray">
                <a:xfrm>
                  <a:off x="4319678" y="3180234"/>
                  <a:ext cx="487191" cy="838366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 anchorCtr="1">
                  <a:spAutoFit/>
                </a:bodyPr>
                <a:lstStyle/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r>
                    <a:rPr lang="pt-PT" b="1">
                      <a:solidFill>
                        <a:schemeClr val="bg1"/>
                      </a:solidFill>
                      <a:latin typeface="Arial" charset="0"/>
                      <a:cs typeface="Arial" charset="0"/>
                    </a:rPr>
                    <a:t>FCR</a:t>
                  </a:r>
                </a:p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endParaRPr lang="pt-PT" b="1">
                    <a:solidFill>
                      <a:schemeClr val="bg1"/>
                    </a:solidFill>
                    <a:latin typeface="Arial" charset="0"/>
                    <a:cs typeface="Arial" charset="0"/>
                  </a:endParaRPr>
                </a:p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r>
                    <a:rPr lang="pt-PT" b="1">
                      <a:solidFill>
                        <a:schemeClr val="bg1"/>
                      </a:solidFill>
                      <a:latin typeface="Arial" charset="0"/>
                      <a:cs typeface="Arial" charset="0"/>
                    </a:rPr>
                    <a:t>BA</a:t>
                  </a:r>
                </a:p>
              </p:txBody>
            </p:sp>
            <p:sp>
              <p:nvSpPr>
                <p:cNvPr id="20501" name="Text Box 13"/>
                <p:cNvSpPr txBox="1">
                  <a:spLocks noChangeArrowheads="1"/>
                </p:cNvSpPr>
                <p:nvPr/>
              </p:nvSpPr>
              <p:spPr bwMode="gray">
                <a:xfrm>
                  <a:off x="2591361" y="2343550"/>
                  <a:ext cx="1038698" cy="1144898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 anchorCtr="1">
                  <a:spAutoFit/>
                </a:bodyPr>
                <a:lstStyle/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r>
                    <a:rPr lang="pt-PT" b="1">
                      <a:solidFill>
                        <a:schemeClr val="bg1"/>
                      </a:solidFill>
                      <a:latin typeface="Arial" charset="0"/>
                      <a:cs typeface="Arial" charset="0"/>
                    </a:rPr>
                    <a:t>2 FCR</a:t>
                  </a:r>
                </a:p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r>
                    <a:rPr lang="pt-PT" b="1" i="1">
                      <a:solidFill>
                        <a:schemeClr val="bg1"/>
                      </a:solidFill>
                      <a:latin typeface="Arial" charset="0"/>
                      <a:cs typeface="Arial" charset="0"/>
                    </a:rPr>
                    <a:t>Corporate</a:t>
                  </a:r>
                </a:p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r>
                    <a:rPr lang="pt-PT" b="1" i="1">
                      <a:solidFill>
                        <a:schemeClr val="bg1"/>
                      </a:solidFill>
                      <a:latin typeface="Arial" charset="0"/>
                      <a:cs typeface="Arial" charset="0"/>
                    </a:rPr>
                    <a:t>Venture</a:t>
                  </a:r>
                </a:p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r>
                    <a:rPr lang="pt-PT" b="1" i="1">
                      <a:solidFill>
                        <a:schemeClr val="bg1"/>
                      </a:solidFill>
                      <a:latin typeface="Arial" charset="0"/>
                      <a:cs typeface="Arial" charset="0"/>
                    </a:rPr>
                    <a:t>Capital</a:t>
                  </a:r>
                </a:p>
              </p:txBody>
            </p:sp>
            <p:sp>
              <p:nvSpPr>
                <p:cNvPr id="20502" name="Text Box 14"/>
                <p:cNvSpPr txBox="1">
                  <a:spLocks noChangeArrowheads="1"/>
                </p:cNvSpPr>
                <p:nvPr/>
              </p:nvSpPr>
              <p:spPr bwMode="gray">
                <a:xfrm>
                  <a:off x="2369591" y="3768166"/>
                  <a:ext cx="1482240" cy="1124590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 anchorCtr="1">
                  <a:spAutoFit/>
                </a:bodyPr>
                <a:lstStyle/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r>
                    <a:rPr lang="pt-PT" b="1">
                      <a:solidFill>
                        <a:schemeClr val="bg1"/>
                      </a:solidFill>
                      <a:latin typeface="Arial" charset="0"/>
                      <a:cs typeface="Arial" charset="0"/>
                    </a:rPr>
                    <a:t>10 FCR</a:t>
                  </a:r>
                </a:p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r>
                    <a:rPr lang="pt-PT" b="1">
                      <a:solidFill>
                        <a:schemeClr val="bg1"/>
                      </a:solidFill>
                      <a:latin typeface="Arial" charset="0"/>
                      <a:cs typeface="Arial" charset="0"/>
                    </a:rPr>
                    <a:t>Inovação e</a:t>
                  </a:r>
                </a:p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r>
                    <a:rPr lang="pt-PT" b="1">
                      <a:solidFill>
                        <a:schemeClr val="bg1"/>
                      </a:solidFill>
                      <a:latin typeface="Arial" charset="0"/>
                      <a:cs typeface="Arial" charset="0"/>
                    </a:rPr>
                    <a:t>Internaciona-</a:t>
                  </a:r>
                </a:p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r>
                    <a:rPr lang="pt-PT" b="1">
                      <a:solidFill>
                        <a:schemeClr val="bg1"/>
                      </a:solidFill>
                      <a:latin typeface="Arial" charset="0"/>
                      <a:cs typeface="Arial" charset="0"/>
                    </a:rPr>
                    <a:t>lização</a:t>
                  </a:r>
                </a:p>
              </p:txBody>
            </p:sp>
            <p:sp>
              <p:nvSpPr>
                <p:cNvPr id="20503" name="Text Box 15"/>
                <p:cNvSpPr txBox="1">
                  <a:spLocks noChangeArrowheads="1"/>
                </p:cNvSpPr>
                <p:nvPr/>
              </p:nvSpPr>
              <p:spPr bwMode="gray">
                <a:xfrm>
                  <a:off x="5541824" y="2629774"/>
                  <a:ext cx="917856" cy="572448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 anchorCtr="1">
                  <a:spAutoFit/>
                </a:bodyPr>
                <a:lstStyle/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r>
                    <a:rPr lang="pt-PT" b="1">
                      <a:solidFill>
                        <a:schemeClr val="bg1"/>
                      </a:solidFill>
                      <a:latin typeface="Arial" charset="0"/>
                      <a:cs typeface="Arial" charset="0"/>
                    </a:rPr>
                    <a:t>3 FCR</a:t>
                  </a:r>
                </a:p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r>
                    <a:rPr lang="pt-PT" b="1" i="1">
                      <a:solidFill>
                        <a:schemeClr val="bg1"/>
                      </a:solidFill>
                      <a:latin typeface="Arial" charset="0"/>
                      <a:cs typeface="Arial" charset="0"/>
                    </a:rPr>
                    <a:t>Pre-seed</a:t>
                  </a:r>
                </a:p>
              </p:txBody>
            </p:sp>
            <p:sp>
              <p:nvSpPr>
                <p:cNvPr id="20504" name="Text Box 16"/>
                <p:cNvSpPr txBox="1">
                  <a:spLocks noChangeArrowheads="1"/>
                </p:cNvSpPr>
                <p:nvPr/>
              </p:nvSpPr>
              <p:spPr bwMode="gray">
                <a:xfrm>
                  <a:off x="5441964" y="4054389"/>
                  <a:ext cx="1117585" cy="552141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 anchor="ctr" anchorCtr="1">
                  <a:spAutoFit/>
                </a:bodyPr>
                <a:lstStyle/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r>
                    <a:rPr lang="pt-PT" b="1">
                      <a:solidFill>
                        <a:schemeClr val="bg1"/>
                      </a:solidFill>
                      <a:latin typeface="Arial" charset="0"/>
                      <a:cs typeface="Arial" charset="0"/>
                    </a:rPr>
                    <a:t>3 FCR</a:t>
                  </a:r>
                </a:p>
                <a:p>
                  <a:pPr algn="ctr">
                    <a:lnSpc>
                      <a:spcPct val="106000"/>
                    </a:lnSpc>
                    <a:buClr>
                      <a:schemeClr val="tx1"/>
                    </a:buClr>
                    <a:buFont typeface="Wingdings 2" pitchFamily="18" charset="2"/>
                    <a:buNone/>
                  </a:pPr>
                  <a:r>
                    <a:rPr lang="pt-PT" b="1">
                      <a:solidFill>
                        <a:schemeClr val="bg1"/>
                      </a:solidFill>
                      <a:latin typeface="Arial" charset="0"/>
                      <a:cs typeface="Arial" charset="0"/>
                    </a:rPr>
                    <a:t>Expansão</a:t>
                  </a:r>
                </a:p>
              </p:txBody>
            </p:sp>
          </p:grpSp>
        </p:grpSp>
        <p:sp>
          <p:nvSpPr>
            <p:cNvPr id="18" name="Oval 17"/>
            <p:cNvSpPr/>
            <p:nvPr/>
          </p:nvSpPr>
          <p:spPr>
            <a:xfrm>
              <a:off x="3740394" y="2116759"/>
              <a:ext cx="4814759" cy="4193099"/>
            </a:xfrm>
            <a:prstGeom prst="ellipse">
              <a:avLst/>
            </a:prstGeom>
            <a:noFill/>
            <a:ln>
              <a:solidFill>
                <a:schemeClr val="bg2"/>
              </a:solidFill>
              <a:prstDash val="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PT" dirty="0"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94210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4211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4212" name="Picture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2049463" y="-66675"/>
            <a:ext cx="8775701" cy="1074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4215" name="TextBox 26"/>
          <p:cNvSpPr txBox="1">
            <a:spLocks noChangeArrowheads="1"/>
          </p:cNvSpPr>
          <p:nvPr/>
        </p:nvSpPr>
        <p:spPr bwMode="auto">
          <a:xfrm>
            <a:off x="2984500" y="1295400"/>
            <a:ext cx="71755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SISTEMA DE APOIO A AÇÕES COLETIVAS - </a:t>
            </a:r>
            <a:r>
              <a:rPr lang="pt-PT" sz="3200" b="1">
                <a:solidFill>
                  <a:srgbClr val="E47823"/>
                </a:solidFill>
                <a:latin typeface="Arial" charset="0"/>
                <a:cs typeface="Arial" charset="0"/>
              </a:rPr>
              <a:t>SIAC</a:t>
            </a:r>
            <a:endParaRPr lang="tr-TR" sz="3200" b="1">
              <a:solidFill>
                <a:srgbClr val="E47823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Rectângulo 1"/>
          <p:cNvSpPr/>
          <p:nvPr/>
        </p:nvSpPr>
        <p:spPr>
          <a:xfrm>
            <a:off x="2740025" y="2266950"/>
            <a:ext cx="752475" cy="353377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vert270" anchor="ctr"/>
          <a:lstStyle/>
          <a:p>
            <a:pPr algn="ctr">
              <a:defRPr/>
            </a:pPr>
            <a:r>
              <a:rPr lang="pt-PT" dirty="0"/>
              <a:t>Último concurso</a:t>
            </a:r>
          </a:p>
        </p:txBody>
      </p:sp>
      <p:graphicFrame>
        <p:nvGraphicFramePr>
          <p:cNvPr id="5" name="Tabela 4"/>
          <p:cNvGraphicFramePr>
            <a:graphicFrameLocks noGrp="1"/>
          </p:cNvGraphicFramePr>
          <p:nvPr/>
        </p:nvGraphicFramePr>
        <p:xfrm>
          <a:off x="3851275" y="2370138"/>
          <a:ext cx="5524500" cy="3325824"/>
        </p:xfrm>
        <a:graphic>
          <a:graphicData uri="http://schemas.openxmlformats.org/drawingml/2006/table">
            <a:tbl>
              <a:tblPr/>
              <a:tblGrid>
                <a:gridCol w="1082675"/>
                <a:gridCol w="1084263"/>
                <a:gridCol w="1128712"/>
                <a:gridCol w="1095375"/>
                <a:gridCol w="1133475"/>
              </a:tblGrid>
              <a:tr h="449212"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Fase</a:t>
                      </a:r>
                      <a:endParaRPr kumimoji="0" lang="pt-P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Trebuchet MS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4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AAC nº 02/SIAC/2012</a:t>
                      </a:r>
                      <a:endParaRPr kumimoji="0" lang="pt-P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Trebuchet MS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4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649592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Limite para execução dos projetos</a:t>
                      </a:r>
                      <a:endParaRPr kumimoji="0" lang="pt-P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Trebuchet MS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4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Início de receção das candidaturas</a:t>
                      </a:r>
                      <a:endParaRPr kumimoji="0" lang="pt-P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Trebuchet MS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4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Fim de receção das candidaturas</a:t>
                      </a:r>
                      <a:endParaRPr kumimoji="0" lang="pt-P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Trebuchet MS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4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Dotação Orçamental (mil euros)</a:t>
                      </a:r>
                      <a:endParaRPr kumimoji="0" lang="pt-P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Trebuchet MS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4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1134933"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Fase I</a:t>
                      </a:r>
                      <a:endParaRPr kumimoji="0" lang="pt-P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Trebuchet MS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4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31-Dez-14</a:t>
                      </a:r>
                      <a:endParaRPr kumimoji="0" lang="pt-P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Trebuchet MS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4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23-Nov-12</a:t>
                      </a:r>
                      <a:endParaRPr kumimoji="0" lang="pt-P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Trebuchet MS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4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28-Jan-13</a:t>
                      </a:r>
                      <a:endParaRPr kumimoji="0" lang="pt-P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Trebuchet MS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4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30.000</a:t>
                      </a:r>
                      <a:endParaRPr kumimoji="0" lang="pt-P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Trebuchet MS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4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1092075"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Fase II</a:t>
                      </a:r>
                      <a:endParaRPr kumimoji="0" lang="pt-P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Trebuchet MS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4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30-Jun-15</a:t>
                      </a:r>
                      <a:endParaRPr kumimoji="0" lang="pt-P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Trebuchet MS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4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02-Mai-13</a:t>
                      </a:r>
                      <a:endParaRPr kumimoji="0" lang="pt-P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Trebuchet MS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4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31-Ago-13</a:t>
                      </a:r>
                      <a:endParaRPr kumimoji="0" lang="pt-P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Trebuchet MS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4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10.000</a:t>
                      </a:r>
                      <a:endParaRPr kumimoji="0" lang="pt-P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Trebuchet MS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4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96258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6259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6260" name="Picture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2049463" y="-66675"/>
            <a:ext cx="8775701" cy="1074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6263" name="TextBox 23"/>
          <p:cNvSpPr txBox="1">
            <a:spLocks noChangeArrowheads="1"/>
          </p:cNvSpPr>
          <p:nvPr/>
        </p:nvSpPr>
        <p:spPr bwMode="auto">
          <a:xfrm>
            <a:off x="3781425" y="2190750"/>
            <a:ext cx="6429375" cy="3786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ADMINISTRAÇÃO CENTRAL E LOCAL DO ESTADO</a:t>
            </a:r>
          </a:p>
          <a:p>
            <a:pPr marL="342900" indent="-342900">
              <a:buFont typeface="Arial" charset="0"/>
              <a:buChar char="•"/>
            </a:pPr>
            <a:endParaRPr lang="pt-PT" b="1">
              <a:solidFill>
                <a:srgbClr val="E47823"/>
              </a:solidFill>
              <a:latin typeface="Arial" charset="0"/>
              <a:cs typeface="Arial" charset="0"/>
            </a:endParaRPr>
          </a:p>
          <a:p>
            <a:pPr marL="342900" indent="-342900"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ADMINISTRAÇÃO LOCAL AUTÁRQUICA</a:t>
            </a:r>
          </a:p>
          <a:p>
            <a:pPr marL="342900" indent="-342900">
              <a:buFont typeface="Arial" charset="0"/>
              <a:buChar char="•"/>
            </a:pPr>
            <a:endParaRPr lang="pt-PT" b="1">
              <a:solidFill>
                <a:srgbClr val="E47823"/>
              </a:solidFill>
              <a:latin typeface="Arial" charset="0"/>
              <a:cs typeface="Arial" charset="0"/>
            </a:endParaRPr>
          </a:p>
          <a:p>
            <a:pPr marL="342900" indent="-342900"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ENTIDADES PÚBLICAS EMPRESARIAIS</a:t>
            </a:r>
          </a:p>
          <a:p>
            <a:pPr marL="1085850" lvl="1" indent="-342900"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Prestadoras serviços de saúde</a:t>
            </a:r>
          </a:p>
          <a:p>
            <a:pPr marL="1085850" lvl="1" indent="-342900"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Apoio à atividade empresarial</a:t>
            </a:r>
          </a:p>
          <a:p>
            <a:pPr marL="1085850" lvl="1" indent="-342900"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Serviços partilhados da AP</a:t>
            </a:r>
          </a:p>
          <a:p>
            <a:pPr marL="342900" indent="-342900">
              <a:buFont typeface="Arial" charset="0"/>
              <a:buChar char="•"/>
            </a:pPr>
            <a:endParaRPr lang="pt-PT" b="1">
              <a:solidFill>
                <a:srgbClr val="E47823"/>
              </a:solidFill>
              <a:latin typeface="Arial" charset="0"/>
              <a:cs typeface="Arial" charset="0"/>
            </a:endParaRPr>
          </a:p>
          <a:p>
            <a:pPr marL="342900" indent="-342900"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AGÊNCIA PARA A MODERNIZAÇÃO ADMINISTRATIVA</a:t>
            </a:r>
          </a:p>
        </p:txBody>
      </p:sp>
      <p:sp>
        <p:nvSpPr>
          <p:cNvPr id="96264" name="TextBox 26"/>
          <p:cNvSpPr txBox="1">
            <a:spLocks noChangeArrowheads="1"/>
          </p:cNvSpPr>
          <p:nvPr/>
        </p:nvSpPr>
        <p:spPr bwMode="auto">
          <a:xfrm>
            <a:off x="2571750" y="1295400"/>
            <a:ext cx="7839075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SIST. APOIO À MODERNIZAÇÃO ADMINISTRATIVA - </a:t>
            </a:r>
            <a:r>
              <a:rPr lang="pt-PT" sz="3200" b="1">
                <a:solidFill>
                  <a:srgbClr val="E47823"/>
                </a:solidFill>
                <a:latin typeface="Arial" charset="0"/>
                <a:cs typeface="Arial" charset="0"/>
              </a:rPr>
              <a:t>SAMA</a:t>
            </a:r>
            <a:endParaRPr lang="tr-TR" sz="3200" b="1">
              <a:solidFill>
                <a:srgbClr val="E47823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Rectângulo 1"/>
          <p:cNvSpPr/>
          <p:nvPr/>
        </p:nvSpPr>
        <p:spPr>
          <a:xfrm>
            <a:off x="2762251" y="2266950"/>
            <a:ext cx="644524" cy="353377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vert270" anchor="ctr"/>
          <a:lstStyle/>
          <a:p>
            <a:pPr algn="ctr">
              <a:defRPr/>
            </a:pPr>
            <a:r>
              <a:rPr lang="pt-PT" dirty="0"/>
              <a:t>Beneficiários diretos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98306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8307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8308" name="Picture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2049463" y="-66675"/>
            <a:ext cx="8775701" cy="1074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98311" name="TextBox 23"/>
          <p:cNvSpPr txBox="1">
            <a:spLocks noChangeArrowheads="1"/>
          </p:cNvSpPr>
          <p:nvPr/>
        </p:nvSpPr>
        <p:spPr bwMode="auto">
          <a:xfrm>
            <a:off x="3781425" y="2190750"/>
            <a:ext cx="6429375" cy="3478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Criar condições para uma Administração Pública mais eficiente e eficaz </a:t>
            </a:r>
          </a:p>
          <a:p>
            <a:pPr marL="342900" indent="-342900">
              <a:buFont typeface="Arial" charset="0"/>
              <a:buChar char="•"/>
            </a:pPr>
            <a:endParaRPr lang="pt-PT" b="1">
              <a:solidFill>
                <a:srgbClr val="E47823"/>
              </a:solidFill>
              <a:latin typeface="Arial" charset="0"/>
              <a:cs typeface="Arial" charset="0"/>
            </a:endParaRPr>
          </a:p>
          <a:p>
            <a:pPr marL="342900" indent="-342900"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Conferir vantagens aos cidadãos e às empresas reduzindo custos de contexto</a:t>
            </a:r>
          </a:p>
          <a:p>
            <a:pPr marL="342900" indent="-342900">
              <a:buFont typeface="Arial" charset="0"/>
              <a:buChar char="•"/>
            </a:pPr>
            <a:endParaRPr lang="pt-PT" b="1">
              <a:solidFill>
                <a:srgbClr val="E47823"/>
              </a:solidFill>
              <a:latin typeface="Arial" charset="0"/>
              <a:cs typeface="Arial" charset="0"/>
            </a:endParaRPr>
          </a:p>
          <a:p>
            <a:pPr marL="342900" indent="-342900"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Oferecer um novo modelo de distribuição de serviços públicos</a:t>
            </a:r>
          </a:p>
          <a:p>
            <a:pPr marL="342900" indent="-342900">
              <a:buFont typeface="Arial" charset="0"/>
              <a:buChar char="•"/>
            </a:pPr>
            <a:endParaRPr lang="pt-PT" b="1">
              <a:solidFill>
                <a:srgbClr val="E47823"/>
              </a:solidFill>
              <a:latin typeface="Arial" charset="0"/>
              <a:cs typeface="Arial" charset="0"/>
            </a:endParaRPr>
          </a:p>
          <a:p>
            <a:pPr marL="342900" indent="-342900">
              <a:buFont typeface="Arial" charset="0"/>
              <a:buChar char="•"/>
            </a:pPr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Melhorar o atendimento aos cidadãos e às empresas</a:t>
            </a:r>
          </a:p>
        </p:txBody>
      </p:sp>
      <p:sp>
        <p:nvSpPr>
          <p:cNvPr id="98312" name="TextBox 26"/>
          <p:cNvSpPr txBox="1">
            <a:spLocks noChangeArrowheads="1"/>
          </p:cNvSpPr>
          <p:nvPr/>
        </p:nvSpPr>
        <p:spPr bwMode="auto">
          <a:xfrm>
            <a:off x="2571750" y="1295400"/>
            <a:ext cx="7839075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SIST. APOIO À MODERNIZAÇÃO ADMINISTRATIVA - </a:t>
            </a:r>
            <a:r>
              <a:rPr lang="pt-PT" sz="3200" b="1">
                <a:solidFill>
                  <a:srgbClr val="E47823"/>
                </a:solidFill>
                <a:latin typeface="Arial" charset="0"/>
                <a:cs typeface="Arial" charset="0"/>
              </a:rPr>
              <a:t>SAMA</a:t>
            </a:r>
            <a:endParaRPr lang="tr-TR" sz="3200" b="1">
              <a:solidFill>
                <a:srgbClr val="E47823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Rectângulo 1"/>
          <p:cNvSpPr/>
          <p:nvPr/>
        </p:nvSpPr>
        <p:spPr>
          <a:xfrm>
            <a:off x="2762251" y="2190750"/>
            <a:ext cx="644524" cy="360997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vert270" anchor="ctr"/>
          <a:lstStyle/>
          <a:p>
            <a:pPr algn="ctr">
              <a:defRPr/>
            </a:pPr>
            <a:r>
              <a:rPr lang="pt-PT" dirty="0"/>
              <a:t>Objetivos dos projetos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100354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0355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0356" name="Picture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2049463" y="-66675"/>
            <a:ext cx="8775701" cy="1074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0359" name="TextBox 26"/>
          <p:cNvSpPr txBox="1">
            <a:spLocks noChangeArrowheads="1"/>
          </p:cNvSpPr>
          <p:nvPr/>
        </p:nvSpPr>
        <p:spPr bwMode="auto">
          <a:xfrm>
            <a:off x="2638425" y="1295400"/>
            <a:ext cx="7858125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SIST. APOIO À MODERNIZAÇÃO ADMINISTRATIVA - </a:t>
            </a:r>
            <a:r>
              <a:rPr lang="pt-PT" sz="3200" b="1">
                <a:solidFill>
                  <a:srgbClr val="E47823"/>
                </a:solidFill>
                <a:latin typeface="Arial" charset="0"/>
                <a:cs typeface="Arial" charset="0"/>
              </a:rPr>
              <a:t>SAMA</a:t>
            </a:r>
            <a:endParaRPr lang="tr-TR" sz="3200" b="1">
              <a:solidFill>
                <a:srgbClr val="E47823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Rectângulo 1"/>
          <p:cNvSpPr/>
          <p:nvPr/>
        </p:nvSpPr>
        <p:spPr>
          <a:xfrm>
            <a:off x="2800351" y="2266950"/>
            <a:ext cx="606424" cy="353377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vert270" anchor="ctr"/>
          <a:lstStyle/>
          <a:p>
            <a:pPr algn="ctr">
              <a:defRPr/>
            </a:pPr>
            <a:r>
              <a:rPr lang="pt-PT" dirty="0"/>
              <a:t>Resultados</a:t>
            </a:r>
          </a:p>
        </p:txBody>
      </p:sp>
      <p:graphicFrame>
        <p:nvGraphicFramePr>
          <p:cNvPr id="4" name="Tabela 3"/>
          <p:cNvGraphicFramePr>
            <a:graphicFrameLocks noGrp="1"/>
          </p:cNvGraphicFramePr>
          <p:nvPr/>
        </p:nvGraphicFramePr>
        <p:xfrm>
          <a:off x="3838575" y="2790825"/>
          <a:ext cx="6229350" cy="2438401"/>
        </p:xfrm>
        <a:graphic>
          <a:graphicData uri="http://schemas.openxmlformats.org/drawingml/2006/table">
            <a:tbl>
              <a:tblPr/>
              <a:tblGrid>
                <a:gridCol w="1100138"/>
                <a:gridCol w="847725"/>
                <a:gridCol w="825500"/>
                <a:gridCol w="979487"/>
                <a:gridCol w="854075"/>
                <a:gridCol w="749300"/>
                <a:gridCol w="873125"/>
              </a:tblGrid>
              <a:tr h="622300"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Dotação Orçamental 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(mil euros)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Calibri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Compromissos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Calibri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Taxa de Compromisso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Calibri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Execução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Calibri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Taxa de Execução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Calibri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747713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Nº 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Calibri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Incentivo (mil euros)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Calibri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Nº 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Calibri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Incentivo (mil euros)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Calibri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</a:tr>
              <a:tr h="1068388"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235.000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Calibri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168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Calibri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262.445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Calibri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112%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Calibri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118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Calibri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78.016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Calibri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31%</a:t>
                      </a:r>
                      <a:endParaRPr kumimoji="0" lang="pt-P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46C0A"/>
                        </a:solidFill>
                        <a:effectLst/>
                        <a:latin typeface="Calibri" pitchFamily="34" charset="0"/>
                        <a:ea typeface="Geneva"/>
                        <a:cs typeface="Geneva"/>
                      </a:endParaRP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102402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03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04" name="Picture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2049463" y="-66675"/>
            <a:ext cx="8775701" cy="1074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2407" name="TextBox 26"/>
          <p:cNvSpPr txBox="1">
            <a:spLocks noChangeArrowheads="1"/>
          </p:cNvSpPr>
          <p:nvPr/>
        </p:nvSpPr>
        <p:spPr bwMode="auto">
          <a:xfrm>
            <a:off x="2705100" y="1295400"/>
            <a:ext cx="779145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rgbClr val="E47823"/>
                </a:solidFill>
                <a:latin typeface="Arial" charset="0"/>
                <a:cs typeface="Arial" charset="0"/>
              </a:rPr>
              <a:t>SIST. APOIO À MODERNIZAÇÃO ADMINISTRATIVA - </a:t>
            </a:r>
            <a:r>
              <a:rPr lang="pt-PT" sz="3200" b="1">
                <a:solidFill>
                  <a:srgbClr val="E47823"/>
                </a:solidFill>
                <a:latin typeface="Arial" charset="0"/>
                <a:cs typeface="Arial" charset="0"/>
              </a:rPr>
              <a:t>SAMA</a:t>
            </a:r>
            <a:endParaRPr lang="tr-TR" sz="3200" b="1">
              <a:solidFill>
                <a:srgbClr val="E47823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Rectângulo 1"/>
          <p:cNvSpPr/>
          <p:nvPr/>
        </p:nvSpPr>
        <p:spPr>
          <a:xfrm>
            <a:off x="2914651" y="2266950"/>
            <a:ext cx="714374" cy="353377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vert270" anchor="ctr"/>
          <a:lstStyle/>
          <a:p>
            <a:pPr algn="ctr">
              <a:defRPr/>
            </a:pPr>
            <a:r>
              <a:rPr lang="pt-PT" dirty="0"/>
              <a:t>Último concurso</a:t>
            </a:r>
          </a:p>
        </p:txBody>
      </p:sp>
      <p:graphicFrame>
        <p:nvGraphicFramePr>
          <p:cNvPr id="4" name="Tabela 3"/>
          <p:cNvGraphicFramePr>
            <a:graphicFrameLocks noGrp="1"/>
          </p:cNvGraphicFramePr>
          <p:nvPr/>
        </p:nvGraphicFramePr>
        <p:xfrm>
          <a:off x="3914775" y="2381250"/>
          <a:ext cx="6581776" cy="3219450"/>
        </p:xfrm>
        <a:graphic>
          <a:graphicData uri="http://schemas.openxmlformats.org/drawingml/2006/table">
            <a:tbl>
              <a:tblPr/>
              <a:tblGrid>
                <a:gridCol w="1267747"/>
                <a:gridCol w="932747"/>
                <a:gridCol w="932747"/>
                <a:gridCol w="886766"/>
                <a:gridCol w="896619"/>
                <a:gridCol w="916325"/>
                <a:gridCol w="748825"/>
              </a:tblGrid>
              <a:tr h="425450"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Âmbito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FASE I - 2012/2013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FASE II - 2013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 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654050">
                <a:tc vMerge="1">
                  <a:txBody>
                    <a:bodyPr/>
                    <a:lstStyle/>
                    <a:p>
                      <a:endParaRPr lang="pt-P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Início Receção de Candidaturas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Fim Receção de Candidaturas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Dotação </a:t>
                      </a: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(mil euros)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Início Receção de Candidaturas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Fim Receção de Candidaturas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Dotação (mil euros)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866775">
                <a:tc>
                  <a:txBody>
                    <a:bodyPr/>
                    <a:lstStyle/>
                    <a:p>
                      <a:pPr marL="0" marR="0" lvl="0" indent="0" algn="l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Administração Central - Setores da Justiça e das Finanças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19-12-2012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15-02-2013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7.000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01-05-2013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28-06-2013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4.000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654050">
                <a:tc>
                  <a:txBody>
                    <a:bodyPr/>
                    <a:lstStyle/>
                    <a:p>
                      <a:pPr marL="0" marR="0" lvl="0" indent="0" algn="l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Administração Central - Outros Setores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19-12-2012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15-02-2013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10.000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01-05-2013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28-06-2013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4.000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619125">
                <a:tc>
                  <a:txBody>
                    <a:bodyPr/>
                    <a:lstStyle/>
                    <a:p>
                      <a:pPr marL="0" marR="0" lvl="0" indent="0" algn="l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Administração Local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19-12-2012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15-02-2013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10.000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01-05-2013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28-06-2013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Geneva"/>
                          <a:cs typeface="Geneva"/>
                        </a:rPr>
                        <a:t>5.000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954900">
            <a:off x="-796925" y="-605298"/>
            <a:ext cx="13104813" cy="929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26"/>
          <p:cNvSpPr txBox="1">
            <a:spLocks noChangeArrowheads="1"/>
          </p:cNvSpPr>
          <p:nvPr/>
        </p:nvSpPr>
        <p:spPr bwMode="auto">
          <a:xfrm>
            <a:off x="1157288" y="462593"/>
            <a:ext cx="821372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PT" b="1">
                <a:solidFill>
                  <a:srgbClr val="00B050"/>
                </a:solidFill>
                <a:latin typeface="Arial" charset="0"/>
                <a:cs typeface="Arial" charset="0"/>
              </a:rPr>
              <a:t>UMA REDE DE APOIO AO EMPREENDEDORISMO E À INOVAÇÃO</a:t>
            </a:r>
            <a:endParaRPr lang="tr-TR" sz="3200" b="1">
              <a:solidFill>
                <a:srgbClr val="00B050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898355010"/>
              </p:ext>
            </p:extLst>
          </p:nvPr>
        </p:nvGraphicFramePr>
        <p:xfrm>
          <a:off x="398206" y="1611891"/>
          <a:ext cx="6681019" cy="39465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2601245222"/>
              </p:ext>
            </p:extLst>
          </p:nvPr>
        </p:nvGraphicFramePr>
        <p:xfrm>
          <a:off x="7256206" y="1019944"/>
          <a:ext cx="3131468" cy="5731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4000"/>
                            </p:stCondLst>
                            <p:childTnLst>
                              <p:par>
                                <p:cTn id="1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0"/>
                            </p:stCondLst>
                            <p:childTnLst>
                              <p:par>
                                <p:cTn id="1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Graphic spid="9" grpId="0">
        <p:bldAsOne/>
      </p:bldGraphic>
      <p:bldGraphic spid="10" grpId="0">
        <p:bldAsOne/>
      </p:bldGraphic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106498" name="Picture 7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16400" y="1892300"/>
            <a:ext cx="4203700" cy="242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499" name="Picture 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362200" y="4406900"/>
            <a:ext cx="4978400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500" name="Text Box 5"/>
          <p:cNvSpPr txBox="1">
            <a:spLocks noChangeArrowheads="1"/>
          </p:cNvSpPr>
          <p:nvPr/>
        </p:nvSpPr>
        <p:spPr bwMode="auto">
          <a:xfrm>
            <a:off x="1852613" y="5495925"/>
            <a:ext cx="6862762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pt-PT" sz="3200" dirty="0">
                <a:solidFill>
                  <a:schemeClr val="bg1"/>
                </a:solidFill>
                <a:latin typeface="Arial" charset="0"/>
              </a:rPr>
              <a:t>Muito </a:t>
            </a:r>
            <a:r>
              <a:rPr lang="pt-PT" sz="3200" dirty="0" smtClean="0">
                <a:solidFill>
                  <a:schemeClr val="bg1"/>
                </a:solidFill>
                <a:latin typeface="Arial" charset="0"/>
              </a:rPr>
              <a:t>Obrigada</a:t>
            </a:r>
            <a:endParaRPr lang="pt-PT" sz="3200" dirty="0">
              <a:solidFill>
                <a:schemeClr val="bg1"/>
              </a:solidFill>
              <a:latin typeface="Arial" charset="0"/>
            </a:endParaRPr>
          </a:p>
          <a:p>
            <a:pPr algn="ctr" defTabSz="914400"/>
            <a:r>
              <a:rPr lang="pt-PT" sz="3200" dirty="0">
                <a:solidFill>
                  <a:schemeClr val="bg1"/>
                </a:solidFill>
                <a:latin typeface="Arial" charset="0"/>
              </a:rPr>
              <a:t>www.pofc.qren.pt</a:t>
            </a:r>
          </a:p>
        </p:txBody>
      </p:sp>
    </p:spTree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22530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1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2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774700" y="71438"/>
            <a:ext cx="4514850" cy="6345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pSp>
        <p:nvGrpSpPr>
          <p:cNvPr id="22535" name="Group 10"/>
          <p:cNvGrpSpPr>
            <a:grpSpLocks/>
          </p:cNvGrpSpPr>
          <p:nvPr/>
        </p:nvGrpSpPr>
        <p:grpSpPr bwMode="auto">
          <a:xfrm>
            <a:off x="5530850" y="4424363"/>
            <a:ext cx="4244975" cy="1017587"/>
            <a:chOff x="2226766" y="2910112"/>
            <a:chExt cx="4840132" cy="756420"/>
          </a:xfrm>
        </p:grpSpPr>
        <p:sp>
          <p:nvSpPr>
            <p:cNvPr id="15" name="Rounded Rectangle 14"/>
            <p:cNvSpPr/>
            <p:nvPr/>
          </p:nvSpPr>
          <p:spPr>
            <a:xfrm>
              <a:off x="2226766" y="2910112"/>
              <a:ext cx="4840132" cy="756420"/>
            </a:xfrm>
            <a:prstGeom prst="roundRect">
              <a:avLst/>
            </a:prstGeom>
            <a:solidFill>
              <a:schemeClr val="bg1">
                <a:alpha val="90000"/>
              </a:schemeClr>
            </a:solidFill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6" name="Rounded Rectangle 4"/>
            <p:cNvSpPr/>
            <p:nvPr/>
          </p:nvSpPr>
          <p:spPr>
            <a:xfrm>
              <a:off x="2262967" y="2946694"/>
              <a:ext cx="4767729" cy="6832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12700" tIns="12700" rIns="12700" bIns="12700" spcCol="1270" anchor="ctr"/>
            <a:lstStyle/>
            <a:p>
              <a:pPr marL="352800" lvl="1" indent="-228600" defTabSz="889000">
                <a:spcAft>
                  <a:spcPct val="15000"/>
                </a:spcAft>
                <a:buFontTx/>
                <a:buChar char="••"/>
                <a:defRPr/>
              </a:pPr>
              <a:r>
                <a:rPr lang="pt-PT" b="1" dirty="0">
                  <a:latin typeface="Arial"/>
                  <a:cs typeface="Arial"/>
                </a:rPr>
                <a:t>Investe QREN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842970" y="4427412"/>
            <a:ext cx="2601161" cy="995766"/>
            <a:chOff x="134304" y="2913002"/>
            <a:chExt cx="1965500" cy="740162"/>
          </a:xfrm>
          <a:solidFill>
            <a:srgbClr val="216032"/>
          </a:solidFill>
        </p:grpSpPr>
        <p:sp>
          <p:nvSpPr>
            <p:cNvPr id="13" name="Rounded Rectangle 12"/>
            <p:cNvSpPr/>
            <p:nvPr/>
          </p:nvSpPr>
          <p:spPr>
            <a:xfrm>
              <a:off x="134304" y="2913002"/>
              <a:ext cx="1965500" cy="740162"/>
            </a:xfrm>
            <a:prstGeom prst="round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ounded Rectangle 6"/>
            <p:cNvSpPr/>
            <p:nvPr/>
          </p:nvSpPr>
          <p:spPr>
            <a:xfrm>
              <a:off x="170436" y="2949134"/>
              <a:ext cx="1893236" cy="66789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6200" tIns="38100" rIns="76200" bIns="38100" spcCol="1270" anchor="ctr"/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PT" b="1" dirty="0">
                  <a:latin typeface="Arial"/>
                  <a:cs typeface="Arial"/>
                </a:rPr>
                <a:t>Linhas crédito + Garantias</a:t>
              </a:r>
            </a:p>
          </p:txBody>
        </p:sp>
      </p:grpSp>
      <p:grpSp>
        <p:nvGrpSpPr>
          <p:cNvPr id="22537" name="Group 16"/>
          <p:cNvGrpSpPr>
            <a:grpSpLocks/>
          </p:cNvGrpSpPr>
          <p:nvPr/>
        </p:nvGrpSpPr>
        <p:grpSpPr bwMode="auto">
          <a:xfrm>
            <a:off x="5530850" y="1871663"/>
            <a:ext cx="4244975" cy="1730375"/>
            <a:chOff x="2863528" y="781906"/>
            <a:chExt cx="4245176" cy="1246953"/>
          </a:xfrm>
        </p:grpSpPr>
        <p:sp>
          <p:nvSpPr>
            <p:cNvPr id="21" name="Rounded Rectangle 20"/>
            <p:cNvSpPr/>
            <p:nvPr/>
          </p:nvSpPr>
          <p:spPr>
            <a:xfrm>
              <a:off x="2863528" y="781906"/>
              <a:ext cx="4245176" cy="1246953"/>
            </a:xfrm>
            <a:prstGeom prst="roundRect">
              <a:avLst/>
            </a:prstGeom>
            <a:solidFill>
              <a:schemeClr val="bg1">
                <a:alpha val="90000"/>
              </a:schemeClr>
            </a:solidFill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2" name="Rounded Rectangle 4"/>
            <p:cNvSpPr/>
            <p:nvPr/>
          </p:nvSpPr>
          <p:spPr>
            <a:xfrm>
              <a:off x="2923856" y="842537"/>
              <a:ext cx="4124520" cy="11256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12700" tIns="12700" rIns="12700" bIns="12700" spcCol="1270" anchor="ctr"/>
            <a:lstStyle/>
            <a:p>
              <a:pPr marL="360000" lvl="1" indent="-228600" defTabSz="889000">
                <a:lnSpc>
                  <a:spcPts val="3000"/>
                </a:lnSpc>
                <a:spcAft>
                  <a:spcPct val="15000"/>
                </a:spcAft>
                <a:buFontTx/>
                <a:buChar char="••"/>
                <a:defRPr/>
              </a:pPr>
              <a:r>
                <a:rPr lang="pt-PT" b="1" dirty="0">
                  <a:solidFill>
                    <a:schemeClr val="tx1"/>
                  </a:solidFill>
                  <a:latin typeface="Arial"/>
                  <a:cs typeface="Arial"/>
                </a:rPr>
                <a:t>Consultoria</a:t>
              </a:r>
            </a:p>
            <a:p>
              <a:pPr marL="360000" lvl="1" indent="-228600" defTabSz="889000">
                <a:lnSpc>
                  <a:spcPts val="3000"/>
                </a:lnSpc>
                <a:spcAft>
                  <a:spcPct val="15000"/>
                </a:spcAft>
                <a:buFontTx/>
                <a:buChar char="••"/>
                <a:defRPr/>
              </a:pPr>
              <a:r>
                <a:rPr lang="pt-PT" b="1" dirty="0">
                  <a:solidFill>
                    <a:schemeClr val="tx1"/>
                  </a:solidFill>
                  <a:latin typeface="Arial"/>
                  <a:cs typeface="Arial"/>
                </a:rPr>
                <a:t>Propriedade intelectual e industrial</a:t>
              </a:r>
              <a:endParaRPr lang="pt-PT" b="1" i="1" dirty="0">
                <a:solidFill>
                  <a:schemeClr val="tx1"/>
                </a:solidFill>
                <a:latin typeface="Arial"/>
                <a:cs typeface="Arial"/>
              </a:endParaRPr>
            </a:p>
            <a:p>
              <a:pPr marL="360000" lvl="1" indent="-228600" defTabSz="889000">
                <a:lnSpc>
                  <a:spcPts val="3000"/>
                </a:lnSpc>
                <a:spcAft>
                  <a:spcPct val="15000"/>
                </a:spcAft>
                <a:buFontTx/>
                <a:buChar char="••"/>
                <a:defRPr/>
              </a:pPr>
              <a:r>
                <a:rPr lang="pt-PT" b="1" dirty="0">
                  <a:solidFill>
                    <a:schemeClr val="tx1"/>
                  </a:solidFill>
                  <a:latin typeface="Arial"/>
                  <a:cs typeface="Arial"/>
                </a:rPr>
                <a:t>Economia digital</a:t>
              </a:r>
              <a:endParaRPr lang="pt-PT" b="1" i="1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22538" name="Group 17"/>
          <p:cNvGrpSpPr>
            <a:grpSpLocks/>
          </p:cNvGrpSpPr>
          <p:nvPr/>
        </p:nvGrpSpPr>
        <p:grpSpPr bwMode="auto">
          <a:xfrm>
            <a:off x="2695575" y="1871663"/>
            <a:ext cx="2747963" cy="1730375"/>
            <a:chOff x="29358" y="868282"/>
            <a:chExt cx="2747912" cy="1074200"/>
          </a:xfrm>
        </p:grpSpPr>
        <p:sp>
          <p:nvSpPr>
            <p:cNvPr id="19" name="Rounded Rectangle 18"/>
            <p:cNvSpPr/>
            <p:nvPr/>
          </p:nvSpPr>
          <p:spPr>
            <a:xfrm>
              <a:off x="29358" y="868282"/>
              <a:ext cx="2747912" cy="1074200"/>
            </a:xfrm>
            <a:prstGeom prst="roundRect">
              <a:avLst/>
            </a:prstGeom>
            <a:solidFill>
              <a:srgbClr val="00B050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Rounded Rectangle 6"/>
            <p:cNvSpPr/>
            <p:nvPr/>
          </p:nvSpPr>
          <p:spPr>
            <a:xfrm>
              <a:off x="81745" y="920513"/>
              <a:ext cx="2643138" cy="96973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6200" tIns="38100" rIns="76200" bIns="38100" spcCol="1270" anchor="ctr"/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PT" b="1" dirty="0">
                  <a:latin typeface="Arial"/>
                  <a:cs typeface="Arial"/>
                </a:rPr>
                <a:t>Vale Empreendedorismo</a:t>
              </a:r>
            </a:p>
          </p:txBody>
        </p:sp>
      </p:grpSp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24578" name="Picture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79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80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774700" y="71438"/>
            <a:ext cx="4514850" cy="6345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2784475" y="2146300"/>
          <a:ext cx="7404101" cy="3108960"/>
        </p:xfrm>
        <a:graphic>
          <a:graphicData uri="http://schemas.openxmlformats.org/drawingml/2006/table">
            <a:tbl>
              <a:tblPr/>
              <a:tblGrid>
                <a:gridCol w="2052638"/>
                <a:gridCol w="1783821"/>
                <a:gridCol w="1783821"/>
                <a:gridCol w="1783821"/>
              </a:tblGrid>
              <a:tr h="37147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Geneva"/>
                          <a:cs typeface="Arial" charset="0"/>
                        </a:rPr>
                        <a:t>INSTRUMENTO</a:t>
                      </a:r>
                      <a:endParaRPr kumimoji="0" lang="pt-PT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9B83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Geneva"/>
                          <a:cs typeface="Arial" charset="0"/>
                        </a:rPr>
                        <a:t>PME APOIADAS</a:t>
                      </a:r>
                      <a:endParaRPr kumimoji="0" lang="pt-PT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9B83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Geneva"/>
                          <a:cs typeface="Arial" charset="0"/>
                        </a:rPr>
                        <a:t>FUNDING</a:t>
                      </a:r>
                      <a:r>
                        <a:rPr kumimoji="0" lang="pt-PT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Geneva"/>
                          <a:cs typeface="Arial" charset="0"/>
                        </a:rPr>
                        <a:t> TOTAL REALIZADO</a:t>
                      </a:r>
                      <a:endParaRPr kumimoji="0" lang="pt-PT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9B83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PT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Geneva"/>
                          <a:cs typeface="Arial" charset="0"/>
                        </a:rPr>
                        <a:t>FUNDING</a:t>
                      </a:r>
                      <a:r>
                        <a:rPr kumimoji="0" lang="pt-PT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Geneva"/>
                          <a:cs typeface="Arial" charset="0"/>
                        </a:rPr>
                        <a:t> TOTAL DISPONÍVEL</a:t>
                      </a:r>
                      <a:endParaRPr kumimoji="0" lang="pt-PT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9B832"/>
                    </a:solidFill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Geneva"/>
                          <a:cs typeface="Arial" charset="0"/>
                        </a:rPr>
                        <a:t>FCR/BA</a:t>
                      </a:r>
                      <a:endParaRPr kumimoji="0" lang="pt-PT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Geneva"/>
                          <a:cs typeface="Arial" charset="0"/>
                        </a:rPr>
                        <a:t>66</a:t>
                      </a:r>
                      <a:endParaRPr kumimoji="0" lang="pt-PT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Geneva"/>
                          <a:cs typeface="Arial" charset="0"/>
                        </a:rPr>
                        <a:t>23M€</a:t>
                      </a:r>
                      <a:endParaRPr kumimoji="0" lang="pt-PT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Geneva"/>
                          <a:cs typeface="Arial" charset="0"/>
                        </a:rPr>
                        <a:t>376M€</a:t>
                      </a:r>
                      <a:endParaRPr kumimoji="0" lang="pt-PT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Geneva"/>
                          <a:cs typeface="Arial" charset="0"/>
                        </a:rPr>
                        <a:t>LINHAS DE CRÉDITO</a:t>
                      </a:r>
                      <a:endParaRPr kumimoji="0" lang="pt-PT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Geneva"/>
                          <a:cs typeface="Arial" charset="0"/>
                        </a:rPr>
                        <a:t>3.765</a:t>
                      </a:r>
                      <a:endParaRPr kumimoji="0" lang="pt-PT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Geneva"/>
                          <a:cs typeface="Arial" charset="0"/>
                        </a:rPr>
                        <a:t>1.272M€</a:t>
                      </a:r>
                      <a:endParaRPr kumimoji="0" lang="pt-PT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Geneva"/>
                          <a:cs typeface="Arial" charset="0"/>
                        </a:rPr>
                        <a:t>514M€</a:t>
                      </a:r>
                      <a:endParaRPr kumimoji="0" lang="pt-PT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0104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Geneva"/>
                          <a:cs typeface="Arial" charset="0"/>
                        </a:rPr>
                        <a:t>TOTAL</a:t>
                      </a:r>
                      <a:endParaRPr kumimoji="0" lang="pt-PT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9B832"/>
                          </a:solidFill>
                          <a:effectLst/>
                          <a:latin typeface="Arial" charset="0"/>
                          <a:ea typeface="Geneva"/>
                          <a:cs typeface="Arial" charset="0"/>
                        </a:rPr>
                        <a:t>3.831</a:t>
                      </a:r>
                      <a:endParaRPr kumimoji="0" lang="pt-PT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9B832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9B832"/>
                          </a:solidFill>
                          <a:effectLst/>
                          <a:latin typeface="Arial" charset="0"/>
                          <a:ea typeface="Geneva"/>
                          <a:cs typeface="Arial" charset="0"/>
                        </a:rPr>
                        <a:t>1.295M€</a:t>
                      </a:r>
                      <a:endParaRPr kumimoji="0" lang="pt-PT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9B832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PT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9B832"/>
                          </a:solidFill>
                          <a:effectLst/>
                          <a:latin typeface="Arial" charset="0"/>
                          <a:ea typeface="Geneva"/>
                          <a:cs typeface="Arial" charset="0"/>
                        </a:rPr>
                        <a:t>890M€</a:t>
                      </a:r>
                      <a:endParaRPr kumimoji="0" lang="pt-PT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9B832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9B83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954900">
            <a:off x="-1171575" y="-1595438"/>
            <a:ext cx="13104813" cy="929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"/>
          <p:cNvGrpSpPr>
            <a:grpSpLocks/>
          </p:cNvGrpSpPr>
          <p:nvPr/>
        </p:nvGrpSpPr>
        <p:grpSpPr bwMode="auto">
          <a:xfrm>
            <a:off x="-173038" y="1979613"/>
            <a:ext cx="11112501" cy="4778375"/>
            <a:chOff x="-173038" y="1979613"/>
            <a:chExt cx="11112501" cy="4778375"/>
          </a:xfrm>
        </p:grpSpPr>
        <p:pic>
          <p:nvPicPr>
            <p:cNvPr id="26629" name="Picture 10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-173038" y="5851525"/>
              <a:ext cx="10799763" cy="906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630" name="Picture 3"/>
            <p:cNvPicPr>
              <a:picLocks noChangeAspect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314325" y="1979613"/>
              <a:ext cx="10625138" cy="45196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28674" name="Picture 17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5" name="Picture 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6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520700" y="-114300"/>
            <a:ext cx="4011613" cy="655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255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" name="TextBox 23"/>
          <p:cNvSpPr txBox="1">
            <a:spLocks noChangeArrowheads="1"/>
          </p:cNvSpPr>
          <p:nvPr/>
        </p:nvSpPr>
        <p:spPr bwMode="auto">
          <a:xfrm>
            <a:off x="3035300" y="3360738"/>
            <a:ext cx="71755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pt-PT" b="1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Box 26"/>
          <p:cNvSpPr txBox="1">
            <a:spLocks noChangeArrowheads="1"/>
          </p:cNvSpPr>
          <p:nvPr/>
        </p:nvSpPr>
        <p:spPr bwMode="auto">
          <a:xfrm>
            <a:off x="2984500" y="1295400"/>
            <a:ext cx="7512050" cy="44624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Calibri" charset="0"/>
                <a:ea typeface="Geneva" charset="0"/>
                <a:cs typeface="Geneva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Calibri" charset="0"/>
                <a:ea typeface="Geneva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Calibri" charset="0"/>
                <a:ea typeface="Geneva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Calibri" charset="0"/>
                <a:ea typeface="Geneva" charset="0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Calibri" charset="0"/>
                <a:ea typeface="Geneva" charset="0"/>
              </a:defRPr>
            </a:lvl5pPr>
            <a:lvl6pPr marL="25146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charset="0"/>
                <a:ea typeface="Geneva" charset="0"/>
              </a:defRPr>
            </a:lvl6pPr>
            <a:lvl7pPr marL="29718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charset="0"/>
                <a:ea typeface="Geneva" charset="0"/>
              </a:defRPr>
            </a:lvl7pPr>
            <a:lvl8pPr marL="34290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charset="0"/>
                <a:ea typeface="Geneva" charset="0"/>
              </a:defRPr>
            </a:lvl8pPr>
            <a:lvl9pPr marL="3886200" indent="-228600" defTabSz="514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charset="0"/>
                <a:ea typeface="Geneva" charset="0"/>
              </a:defRPr>
            </a:lvl9pPr>
          </a:lstStyle>
          <a:p>
            <a:pPr eaLnBrk="1" hangingPunct="1">
              <a:defRPr/>
            </a:pPr>
            <a:r>
              <a:rPr lang="tr-TR" sz="2800" b="1" dirty="0">
                <a:solidFill>
                  <a:srgbClr val="76A606"/>
                </a:solidFill>
                <a:latin typeface="Arial" charset="0"/>
                <a:cs typeface="Arial" charset="0"/>
              </a:rPr>
              <a:t>INCENTIVOS À I&amp;D</a:t>
            </a:r>
          </a:p>
          <a:p>
            <a:pPr eaLnBrk="1" hangingPunct="1">
              <a:defRPr/>
            </a:pPr>
            <a:endParaRPr lang="pt-PT" sz="2800" b="1" dirty="0" smtClean="0">
              <a:solidFill>
                <a:srgbClr val="739002"/>
              </a:solidFill>
              <a:latin typeface="Arial" charset="0"/>
              <a:cs typeface="Arial" charset="0"/>
            </a:endParaRPr>
          </a:p>
          <a:p>
            <a:pPr eaLnBrk="1" hangingPunct="1">
              <a:defRPr/>
            </a:pPr>
            <a:endParaRPr lang="tr-TR" sz="2800" b="1" dirty="0" smtClean="0">
              <a:solidFill>
                <a:srgbClr val="739002"/>
              </a:solidFill>
              <a:latin typeface="Arial" charset="0"/>
              <a:cs typeface="Arial" charset="0"/>
            </a:endParaRPr>
          </a:p>
          <a:p>
            <a:pPr eaLnBrk="1" hangingPunct="1">
              <a:defRPr/>
            </a:pPr>
            <a:endParaRPr lang="tr-TR" b="1" dirty="0" smtClean="0">
              <a:solidFill>
                <a:srgbClr val="739002"/>
              </a:solidFill>
              <a:latin typeface="Arial" charset="0"/>
              <a:cs typeface="Arial" charset="0"/>
            </a:endParaRPr>
          </a:p>
          <a:p>
            <a:pPr marL="352425" indent="-352425" eaLnBrk="1" hangingPunct="1">
              <a:buFont typeface="+mj-lt"/>
              <a:buAutoNum type="arabicPeriod"/>
              <a:defRPr/>
            </a:pPr>
            <a:r>
              <a:rPr lang="tr-TR" b="1" dirty="0">
                <a:solidFill>
                  <a:srgbClr val="76A606"/>
                </a:solidFill>
                <a:latin typeface="Arial" charset="0"/>
                <a:cs typeface="Arial" charset="0"/>
              </a:rPr>
              <a:t>INCENTIVO AO DESENVOLVIMENTO TECNOLÓGICO</a:t>
            </a:r>
          </a:p>
          <a:p>
            <a:pPr marL="352425" indent="-352425" eaLnBrk="1" hangingPunct="1">
              <a:buFont typeface="+mj-lt"/>
              <a:buAutoNum type="arabicPeriod"/>
              <a:defRPr/>
            </a:pPr>
            <a:endParaRPr lang="tr-TR" b="1" dirty="0">
              <a:solidFill>
                <a:srgbClr val="76A606"/>
              </a:solidFill>
              <a:latin typeface="Arial" charset="0"/>
              <a:cs typeface="Arial" charset="0"/>
            </a:endParaRPr>
          </a:p>
          <a:p>
            <a:pPr marL="352425" indent="-352425" eaLnBrk="1" hangingPunct="1">
              <a:buFont typeface="+mj-lt"/>
              <a:buAutoNum type="arabicPeriod"/>
              <a:defRPr/>
            </a:pPr>
            <a:r>
              <a:rPr lang="pt-PT" b="1" dirty="0" smtClean="0">
                <a:solidFill>
                  <a:srgbClr val="76A606"/>
                </a:solidFill>
                <a:latin typeface="Arial" charset="0"/>
                <a:cs typeface="Arial" charset="0"/>
              </a:rPr>
              <a:t>APOIO TRANSVERSAL </a:t>
            </a:r>
            <a:r>
              <a:rPr lang="tr-TR" b="1" dirty="0" smtClean="0">
                <a:solidFill>
                  <a:srgbClr val="76A606"/>
                </a:solidFill>
                <a:latin typeface="Arial" charset="0"/>
                <a:cs typeface="Arial" charset="0"/>
              </a:rPr>
              <a:t>DA </a:t>
            </a:r>
            <a:r>
              <a:rPr lang="tr-TR" b="1" dirty="0">
                <a:solidFill>
                  <a:srgbClr val="76A606"/>
                </a:solidFill>
                <a:latin typeface="Arial" charset="0"/>
                <a:cs typeface="Arial" charset="0"/>
              </a:rPr>
              <a:t>CIÊNCIA AO PROTÓTIPO</a:t>
            </a:r>
          </a:p>
          <a:p>
            <a:pPr marL="352425" indent="-352425" eaLnBrk="1" hangingPunct="1">
              <a:buFont typeface="+mj-lt"/>
              <a:buAutoNum type="arabicPeriod"/>
              <a:defRPr/>
            </a:pPr>
            <a:endParaRPr lang="tr-TR" b="1" dirty="0">
              <a:solidFill>
                <a:srgbClr val="76A606"/>
              </a:solidFill>
              <a:latin typeface="Arial" charset="0"/>
              <a:cs typeface="Arial" charset="0"/>
            </a:endParaRPr>
          </a:p>
          <a:p>
            <a:pPr marL="352425" indent="-352425" eaLnBrk="1" hangingPunct="1">
              <a:buFont typeface="+mj-lt"/>
              <a:buAutoNum type="arabicPeriod"/>
              <a:defRPr/>
            </a:pPr>
            <a:r>
              <a:rPr lang="tr-TR" b="1" dirty="0">
                <a:solidFill>
                  <a:srgbClr val="76A606"/>
                </a:solidFill>
                <a:latin typeface="Arial" charset="0"/>
                <a:cs typeface="Arial" charset="0"/>
              </a:rPr>
              <a:t>FOCALIZAÇÃO EM PRODUTOS </a:t>
            </a:r>
            <a:r>
              <a:rPr lang="tr-TR" b="1" dirty="0" smtClean="0">
                <a:solidFill>
                  <a:srgbClr val="76A606"/>
                </a:solidFill>
                <a:latin typeface="Arial" charset="0"/>
                <a:cs typeface="Arial" charset="0"/>
              </a:rPr>
              <a:t>TRANSACIONÁVEIS</a:t>
            </a:r>
            <a:endParaRPr lang="tr-TR" b="1" dirty="0">
              <a:solidFill>
                <a:srgbClr val="76A606"/>
              </a:solidFill>
              <a:latin typeface="Arial" charset="0"/>
              <a:cs typeface="Arial" charset="0"/>
            </a:endParaRPr>
          </a:p>
          <a:p>
            <a:pPr marL="352425" indent="-352425" eaLnBrk="1" hangingPunct="1">
              <a:buFont typeface="+mj-lt"/>
              <a:buAutoNum type="arabicPeriod"/>
              <a:defRPr/>
            </a:pPr>
            <a:endParaRPr lang="tr-TR" b="1" dirty="0">
              <a:solidFill>
                <a:srgbClr val="76A606"/>
              </a:solidFill>
              <a:latin typeface="Arial" charset="0"/>
              <a:cs typeface="Arial" charset="0"/>
            </a:endParaRPr>
          </a:p>
          <a:p>
            <a:pPr marL="352425" indent="-352425" eaLnBrk="1" hangingPunct="1">
              <a:buFont typeface="+mj-lt"/>
              <a:buAutoNum type="arabicPeriod"/>
              <a:defRPr/>
            </a:pPr>
            <a:r>
              <a:rPr lang="tr-TR" b="1" dirty="0">
                <a:solidFill>
                  <a:srgbClr val="76A606"/>
                </a:solidFill>
                <a:latin typeface="Arial" charset="0"/>
                <a:cs typeface="Arial" charset="0"/>
              </a:rPr>
              <a:t>PROMOÇÃO DA INOVAÇÃO </a:t>
            </a:r>
            <a:r>
              <a:rPr lang="tr-TR" b="1" dirty="0" smtClean="0">
                <a:solidFill>
                  <a:srgbClr val="76A606"/>
                </a:solidFill>
                <a:latin typeface="Arial" charset="0"/>
                <a:cs typeface="Arial" charset="0"/>
              </a:rPr>
              <a:t>ABERTA</a:t>
            </a:r>
            <a:r>
              <a:rPr lang="pt-PT" b="1" dirty="0" smtClean="0">
                <a:solidFill>
                  <a:srgbClr val="76A606"/>
                </a:solidFill>
                <a:latin typeface="Arial" charset="0"/>
                <a:cs typeface="Arial" charset="0"/>
              </a:rPr>
              <a:t>/COLETIVA</a:t>
            </a:r>
            <a:r>
              <a:rPr lang="tr-TR" b="1" dirty="0">
                <a:solidFill>
                  <a:srgbClr val="76A606"/>
                </a:solidFill>
                <a:latin typeface="Arial" charset="0"/>
                <a:cs typeface="Arial" charset="0"/>
              </a:rPr>
              <a:t>	</a:t>
            </a:r>
          </a:p>
          <a:p>
            <a:pPr marL="352425" indent="-352425" eaLnBrk="1" hangingPunct="1">
              <a:buFont typeface="+mj-lt"/>
              <a:buAutoNum type="arabicPeriod"/>
              <a:defRPr/>
            </a:pPr>
            <a:endParaRPr lang="tr-TR" b="1" dirty="0">
              <a:solidFill>
                <a:srgbClr val="76A606"/>
              </a:solidFill>
              <a:latin typeface="Arial" charset="0"/>
              <a:cs typeface="Arial" charset="0"/>
            </a:endParaRPr>
          </a:p>
          <a:p>
            <a:pPr eaLnBrk="1" hangingPunct="1">
              <a:defRPr/>
            </a:pPr>
            <a:endParaRPr lang="en-US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0799763" cy="7205663"/>
          </a:xfrm>
          <a:prstGeom prst="rect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pic>
        <p:nvPicPr>
          <p:cNvPr id="30722" name="Picture 17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173038" y="5870575"/>
            <a:ext cx="3579813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3" name="Picture 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rot="1086495">
            <a:off x="-1757363" y="-4591050"/>
            <a:ext cx="15278101" cy="1083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4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520700" y="-114300"/>
            <a:ext cx="4011613" cy="655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2476500" y="812800"/>
            <a:ext cx="8020050" cy="52578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43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41" name="Freeform 8"/>
          <p:cNvSpPr>
            <a:spLocks/>
          </p:cNvSpPr>
          <p:nvPr/>
        </p:nvSpPr>
        <p:spPr bwMode="blackWhite">
          <a:xfrm>
            <a:off x="8316913" y="1712149"/>
            <a:ext cx="1974850" cy="1419225"/>
          </a:xfrm>
          <a:custGeom>
            <a:avLst/>
            <a:gdLst>
              <a:gd name="T0" fmla="*/ 2147483647 w 857"/>
              <a:gd name="T1" fmla="*/ 0 h 584"/>
              <a:gd name="T2" fmla="*/ 2147483647 w 857"/>
              <a:gd name="T3" fmla="*/ 0 h 584"/>
              <a:gd name="T4" fmla="*/ 2147483647 w 857"/>
              <a:gd name="T5" fmla="*/ 2147483647 h 584"/>
              <a:gd name="T6" fmla="*/ 2147483647 w 857"/>
              <a:gd name="T7" fmla="*/ 2147483647 h 584"/>
              <a:gd name="T8" fmla="*/ 2147483647 w 857"/>
              <a:gd name="T9" fmla="*/ 2147483647 h 584"/>
              <a:gd name="T10" fmla="*/ 0 w 857"/>
              <a:gd name="T11" fmla="*/ 2147483647 h 584"/>
              <a:gd name="T12" fmla="*/ 2147483647 w 857"/>
              <a:gd name="T13" fmla="*/ 0 h 58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57"/>
              <a:gd name="T22" fmla="*/ 0 h 584"/>
              <a:gd name="T23" fmla="*/ 857 w 857"/>
              <a:gd name="T24" fmla="*/ 584 h 58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57" h="584">
                <a:moveTo>
                  <a:pt x="224" y="0"/>
                </a:moveTo>
                <a:lnTo>
                  <a:pt x="648" y="0"/>
                </a:lnTo>
                <a:lnTo>
                  <a:pt x="856" y="295"/>
                </a:lnTo>
                <a:lnTo>
                  <a:pt x="648" y="583"/>
                </a:lnTo>
                <a:lnTo>
                  <a:pt x="224" y="583"/>
                </a:lnTo>
                <a:lnTo>
                  <a:pt x="0" y="295"/>
                </a:lnTo>
                <a:lnTo>
                  <a:pt x="224" y="0"/>
                </a:lnTo>
              </a:path>
            </a:pathLst>
          </a:custGeom>
          <a:solidFill>
            <a:schemeClr val="accent3">
              <a:lumMod val="75000"/>
              <a:alpha val="80000"/>
            </a:schemeClr>
          </a:solidFill>
          <a:ln w="12700" cap="rnd">
            <a:noFill/>
            <a:round/>
            <a:headEnd/>
            <a:tailEnd/>
          </a:ln>
        </p:spPr>
        <p:txBody>
          <a:bodyPr anchor="ctr" anchorCtr="1"/>
          <a:lstStyle/>
          <a:p>
            <a:pPr algn="ctr">
              <a:defRPr/>
            </a:pPr>
            <a:r>
              <a:rPr lang="en-GB" sz="1400" b="1" dirty="0">
                <a:solidFill>
                  <a:schemeClr val="bg1"/>
                </a:solidFill>
                <a:latin typeface="Arial"/>
                <a:ea typeface="Geneva" charset="0"/>
                <a:cs typeface="Arial"/>
              </a:rPr>
              <a:t>PARCEIROS</a:t>
            </a:r>
          </a:p>
        </p:txBody>
      </p:sp>
      <p:sp>
        <p:nvSpPr>
          <p:cNvPr id="43" name="Freeform 2"/>
          <p:cNvSpPr>
            <a:spLocks/>
          </p:cNvSpPr>
          <p:nvPr/>
        </p:nvSpPr>
        <p:spPr bwMode="blackWhite">
          <a:xfrm>
            <a:off x="6680200" y="4163249"/>
            <a:ext cx="1973263" cy="1417638"/>
          </a:xfrm>
          <a:custGeom>
            <a:avLst/>
            <a:gdLst>
              <a:gd name="T0" fmla="*/ 2147483647 w 856"/>
              <a:gd name="T1" fmla="*/ 0 h 584"/>
              <a:gd name="T2" fmla="*/ 2147483647 w 856"/>
              <a:gd name="T3" fmla="*/ 0 h 584"/>
              <a:gd name="T4" fmla="*/ 2147483647 w 856"/>
              <a:gd name="T5" fmla="*/ 2147483647 h 584"/>
              <a:gd name="T6" fmla="*/ 2147483647 w 856"/>
              <a:gd name="T7" fmla="*/ 2147483647 h 584"/>
              <a:gd name="T8" fmla="*/ 2147483647 w 856"/>
              <a:gd name="T9" fmla="*/ 2147483647 h 584"/>
              <a:gd name="T10" fmla="*/ 0 w 856"/>
              <a:gd name="T11" fmla="*/ 2147483647 h 584"/>
              <a:gd name="T12" fmla="*/ 2147483647 w 856"/>
              <a:gd name="T13" fmla="*/ 0 h 58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56"/>
              <a:gd name="T22" fmla="*/ 0 h 584"/>
              <a:gd name="T23" fmla="*/ 856 w 856"/>
              <a:gd name="T24" fmla="*/ 584 h 58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56" h="584">
                <a:moveTo>
                  <a:pt x="224" y="0"/>
                </a:moveTo>
                <a:lnTo>
                  <a:pt x="647" y="0"/>
                </a:lnTo>
                <a:lnTo>
                  <a:pt x="855" y="295"/>
                </a:lnTo>
                <a:lnTo>
                  <a:pt x="647" y="583"/>
                </a:lnTo>
                <a:lnTo>
                  <a:pt x="224" y="583"/>
                </a:lnTo>
                <a:lnTo>
                  <a:pt x="0" y="295"/>
                </a:lnTo>
                <a:lnTo>
                  <a:pt x="224" y="0"/>
                </a:lnTo>
              </a:path>
            </a:pathLst>
          </a:custGeom>
          <a:solidFill>
            <a:schemeClr val="accent3">
              <a:lumMod val="75000"/>
              <a:alpha val="80000"/>
            </a:schemeClr>
          </a:solidFill>
          <a:ln w="12700" cap="rnd">
            <a:noFill/>
            <a:round/>
            <a:headEnd/>
            <a:tailEnd/>
          </a:ln>
        </p:spPr>
        <p:txBody>
          <a:bodyPr anchor="ctr" anchorCtr="1"/>
          <a:lstStyle/>
          <a:p>
            <a:pPr algn="ctr">
              <a:defRPr/>
            </a:pPr>
            <a:r>
              <a:rPr lang="en-GB" sz="1400" b="1" dirty="0">
                <a:solidFill>
                  <a:schemeClr val="bg1"/>
                </a:solidFill>
                <a:latin typeface="Arial"/>
                <a:ea typeface="Geneva" charset="0"/>
                <a:cs typeface="Arial"/>
              </a:rPr>
              <a:t>FORNECEDORES</a:t>
            </a:r>
          </a:p>
        </p:txBody>
      </p:sp>
      <p:sp>
        <p:nvSpPr>
          <p:cNvPr id="44" name="Freeform 3"/>
          <p:cNvSpPr>
            <a:spLocks/>
          </p:cNvSpPr>
          <p:nvPr/>
        </p:nvSpPr>
        <p:spPr bwMode="blackWhite">
          <a:xfrm>
            <a:off x="6678613" y="2578924"/>
            <a:ext cx="1974850" cy="1420813"/>
          </a:xfrm>
          <a:custGeom>
            <a:avLst/>
            <a:gdLst>
              <a:gd name="T0" fmla="*/ 2147483647 w 857"/>
              <a:gd name="T1" fmla="*/ 0 h 584"/>
              <a:gd name="T2" fmla="*/ 2147483647 w 857"/>
              <a:gd name="T3" fmla="*/ 0 h 584"/>
              <a:gd name="T4" fmla="*/ 2147483647 w 857"/>
              <a:gd name="T5" fmla="*/ 2147483647 h 584"/>
              <a:gd name="T6" fmla="*/ 2147483647 w 857"/>
              <a:gd name="T7" fmla="*/ 2147483647 h 584"/>
              <a:gd name="T8" fmla="*/ 2147483647 w 857"/>
              <a:gd name="T9" fmla="*/ 2147483647 h 584"/>
              <a:gd name="T10" fmla="*/ 0 w 857"/>
              <a:gd name="T11" fmla="*/ 2147483647 h 584"/>
              <a:gd name="T12" fmla="*/ 2147483647 w 857"/>
              <a:gd name="T13" fmla="*/ 0 h 58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57"/>
              <a:gd name="T22" fmla="*/ 0 h 584"/>
              <a:gd name="T23" fmla="*/ 857 w 857"/>
              <a:gd name="T24" fmla="*/ 584 h 58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57" h="584">
                <a:moveTo>
                  <a:pt x="224" y="0"/>
                </a:moveTo>
                <a:lnTo>
                  <a:pt x="648" y="0"/>
                </a:lnTo>
                <a:lnTo>
                  <a:pt x="856" y="296"/>
                </a:lnTo>
                <a:lnTo>
                  <a:pt x="648" y="583"/>
                </a:lnTo>
                <a:lnTo>
                  <a:pt x="224" y="583"/>
                </a:lnTo>
                <a:lnTo>
                  <a:pt x="0" y="296"/>
                </a:lnTo>
                <a:lnTo>
                  <a:pt x="224" y="0"/>
                </a:lnTo>
              </a:path>
            </a:pathLst>
          </a:custGeom>
          <a:solidFill>
            <a:schemeClr val="accent3">
              <a:lumMod val="75000"/>
              <a:alpha val="80000"/>
            </a:schemeClr>
          </a:solidFill>
          <a:ln w="12700" cap="rnd">
            <a:noFill/>
            <a:round/>
            <a:headEnd/>
            <a:tailEnd/>
          </a:ln>
        </p:spPr>
        <p:txBody>
          <a:bodyPr anchor="ctr" anchorCtr="1"/>
          <a:lstStyle/>
          <a:p>
            <a:pPr algn="ctr">
              <a:defRPr/>
            </a:pPr>
            <a:r>
              <a:rPr lang="en-GB" sz="1400" b="1" dirty="0">
                <a:solidFill>
                  <a:schemeClr val="bg1"/>
                </a:solidFill>
                <a:latin typeface="Arial"/>
                <a:ea typeface="Geneva" charset="0"/>
                <a:cs typeface="Arial"/>
              </a:rPr>
              <a:t>SISTEMA</a:t>
            </a:r>
          </a:p>
          <a:p>
            <a:pPr algn="ctr">
              <a:defRPr/>
            </a:pPr>
            <a:r>
              <a:rPr lang="en-GB" sz="1400" b="1" dirty="0">
                <a:solidFill>
                  <a:schemeClr val="bg1"/>
                </a:solidFill>
                <a:latin typeface="Arial"/>
                <a:ea typeface="Geneva" charset="0"/>
                <a:cs typeface="Arial"/>
              </a:rPr>
              <a:t>CIENTÍFICO</a:t>
            </a:r>
          </a:p>
        </p:txBody>
      </p:sp>
      <p:sp>
        <p:nvSpPr>
          <p:cNvPr id="45" name="Freeform 4"/>
          <p:cNvSpPr>
            <a:spLocks/>
          </p:cNvSpPr>
          <p:nvPr/>
        </p:nvSpPr>
        <p:spPr bwMode="blackWhite">
          <a:xfrm>
            <a:off x="8320088" y="3396487"/>
            <a:ext cx="1971675" cy="1417637"/>
          </a:xfrm>
          <a:custGeom>
            <a:avLst/>
            <a:gdLst>
              <a:gd name="T0" fmla="*/ 2147483647 w 856"/>
              <a:gd name="T1" fmla="*/ 0 h 584"/>
              <a:gd name="T2" fmla="*/ 2147483647 w 856"/>
              <a:gd name="T3" fmla="*/ 0 h 584"/>
              <a:gd name="T4" fmla="*/ 2147483647 w 856"/>
              <a:gd name="T5" fmla="*/ 2147483647 h 584"/>
              <a:gd name="T6" fmla="*/ 2147483647 w 856"/>
              <a:gd name="T7" fmla="*/ 2147483647 h 584"/>
              <a:gd name="T8" fmla="*/ 2147483647 w 856"/>
              <a:gd name="T9" fmla="*/ 2147483647 h 584"/>
              <a:gd name="T10" fmla="*/ 0 w 856"/>
              <a:gd name="T11" fmla="*/ 2147483647 h 584"/>
              <a:gd name="T12" fmla="*/ 2147483647 w 856"/>
              <a:gd name="T13" fmla="*/ 0 h 58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56"/>
              <a:gd name="T22" fmla="*/ 0 h 584"/>
              <a:gd name="T23" fmla="*/ 856 w 856"/>
              <a:gd name="T24" fmla="*/ 584 h 58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56" h="584">
                <a:moveTo>
                  <a:pt x="224" y="0"/>
                </a:moveTo>
                <a:lnTo>
                  <a:pt x="647" y="0"/>
                </a:lnTo>
                <a:lnTo>
                  <a:pt x="855" y="295"/>
                </a:lnTo>
                <a:lnTo>
                  <a:pt x="647" y="583"/>
                </a:lnTo>
                <a:lnTo>
                  <a:pt x="224" y="583"/>
                </a:lnTo>
                <a:lnTo>
                  <a:pt x="0" y="295"/>
                </a:lnTo>
                <a:lnTo>
                  <a:pt x="224" y="0"/>
                </a:lnTo>
              </a:path>
            </a:pathLst>
          </a:custGeom>
          <a:solidFill>
            <a:schemeClr val="accent3">
              <a:lumMod val="75000"/>
              <a:alpha val="80000"/>
            </a:schemeClr>
          </a:solidFill>
          <a:ln w="12700" cap="rnd">
            <a:noFill/>
            <a:round/>
            <a:headEnd/>
            <a:tailEnd/>
          </a:ln>
        </p:spPr>
        <p:txBody>
          <a:bodyPr anchor="ctr" anchorCtr="1"/>
          <a:lstStyle/>
          <a:p>
            <a:pPr algn="ctr">
              <a:defRPr/>
            </a:pPr>
            <a:r>
              <a:rPr lang="en-GB" sz="1400" b="1" dirty="0">
                <a:solidFill>
                  <a:schemeClr val="bg1"/>
                </a:solidFill>
                <a:latin typeface="Arial"/>
                <a:ea typeface="Geneva" charset="0"/>
                <a:cs typeface="Arial"/>
              </a:rPr>
              <a:t>UTILIZADORES</a:t>
            </a:r>
          </a:p>
        </p:txBody>
      </p:sp>
      <p:sp>
        <p:nvSpPr>
          <p:cNvPr id="48" name="Freeform 7"/>
          <p:cNvSpPr>
            <a:spLocks/>
          </p:cNvSpPr>
          <p:nvPr/>
        </p:nvSpPr>
        <p:spPr bwMode="blackWhite">
          <a:xfrm>
            <a:off x="8320088" y="5026849"/>
            <a:ext cx="1971675" cy="1400175"/>
          </a:xfrm>
          <a:custGeom>
            <a:avLst/>
            <a:gdLst>
              <a:gd name="T0" fmla="*/ 2147483647 w 856"/>
              <a:gd name="T1" fmla="*/ 0 h 576"/>
              <a:gd name="T2" fmla="*/ 2147483647 w 856"/>
              <a:gd name="T3" fmla="*/ 0 h 576"/>
              <a:gd name="T4" fmla="*/ 2147483647 w 856"/>
              <a:gd name="T5" fmla="*/ 2147483647 h 576"/>
              <a:gd name="T6" fmla="*/ 2147483647 w 856"/>
              <a:gd name="T7" fmla="*/ 2147483647 h 576"/>
              <a:gd name="T8" fmla="*/ 2147483647 w 856"/>
              <a:gd name="T9" fmla="*/ 2147483647 h 576"/>
              <a:gd name="T10" fmla="*/ 0 w 856"/>
              <a:gd name="T11" fmla="*/ 2147483647 h 576"/>
              <a:gd name="T12" fmla="*/ 2147483647 w 856"/>
              <a:gd name="T13" fmla="*/ 0 h 57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56"/>
              <a:gd name="T22" fmla="*/ 0 h 576"/>
              <a:gd name="T23" fmla="*/ 856 w 856"/>
              <a:gd name="T24" fmla="*/ 576 h 57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56" h="576">
                <a:moveTo>
                  <a:pt x="224" y="0"/>
                </a:moveTo>
                <a:lnTo>
                  <a:pt x="647" y="0"/>
                </a:lnTo>
                <a:lnTo>
                  <a:pt x="855" y="288"/>
                </a:lnTo>
                <a:lnTo>
                  <a:pt x="647" y="575"/>
                </a:lnTo>
                <a:lnTo>
                  <a:pt x="224" y="575"/>
                </a:lnTo>
                <a:lnTo>
                  <a:pt x="0" y="288"/>
                </a:lnTo>
                <a:lnTo>
                  <a:pt x="224" y="0"/>
                </a:lnTo>
              </a:path>
            </a:pathLst>
          </a:custGeom>
          <a:solidFill>
            <a:schemeClr val="accent3">
              <a:lumMod val="75000"/>
              <a:alpha val="80000"/>
            </a:schemeClr>
          </a:solidFill>
          <a:ln w="12700" cap="rnd">
            <a:noFill/>
            <a:round/>
            <a:headEnd/>
            <a:tailEnd/>
          </a:ln>
        </p:spPr>
        <p:txBody>
          <a:bodyPr anchor="ctr" anchorCtr="1"/>
          <a:lstStyle/>
          <a:p>
            <a:pPr algn="ctr">
              <a:defRPr/>
            </a:pPr>
            <a:r>
              <a:rPr lang="en-GB" sz="1400" b="1" dirty="0">
                <a:solidFill>
                  <a:schemeClr val="bg1"/>
                </a:solidFill>
                <a:latin typeface="Arial"/>
                <a:ea typeface="Geneva" charset="0"/>
                <a:cs typeface="Arial"/>
              </a:rPr>
              <a:t>CONCORRENTES</a:t>
            </a:r>
          </a:p>
        </p:txBody>
      </p:sp>
      <p:sp>
        <p:nvSpPr>
          <p:cNvPr id="30732" name="Text Box 10"/>
          <p:cNvSpPr txBox="1">
            <a:spLocks noChangeArrowheads="1"/>
          </p:cNvSpPr>
          <p:nvPr/>
        </p:nvSpPr>
        <p:spPr bwMode="gray">
          <a:xfrm>
            <a:off x="6861175" y="2668588"/>
            <a:ext cx="0" cy="2174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pPr algn="ctr">
              <a:lnSpc>
                <a:spcPct val="106000"/>
              </a:lnSpc>
              <a:buClr>
                <a:schemeClr val="tx1"/>
              </a:buClr>
              <a:buFont typeface="Wingdings 2" pitchFamily="18" charset="2"/>
              <a:buNone/>
            </a:pPr>
            <a:endParaRPr lang="en-GB" sz="1400" b="1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grpSp>
        <p:nvGrpSpPr>
          <p:cNvPr id="30733" name="Group 5"/>
          <p:cNvGrpSpPr>
            <a:grpSpLocks/>
          </p:cNvGrpSpPr>
          <p:nvPr/>
        </p:nvGrpSpPr>
        <p:grpSpPr bwMode="auto">
          <a:xfrm>
            <a:off x="2865438" y="2470150"/>
            <a:ext cx="2697162" cy="3614738"/>
            <a:chOff x="2703413" y="2214170"/>
            <a:chExt cx="2395357" cy="3345852"/>
          </a:xfrm>
        </p:grpSpPr>
        <p:sp>
          <p:nvSpPr>
            <p:cNvPr id="30735" name="Freeform 6"/>
            <p:cNvSpPr>
              <a:spLocks/>
            </p:cNvSpPr>
            <p:nvPr/>
          </p:nvSpPr>
          <p:spPr bwMode="blackWhite">
            <a:xfrm>
              <a:off x="3004153" y="3422421"/>
              <a:ext cx="1806705" cy="1283386"/>
            </a:xfrm>
            <a:custGeom>
              <a:avLst/>
              <a:gdLst>
                <a:gd name="T0" fmla="*/ 2147483647 w 857"/>
                <a:gd name="T1" fmla="*/ 0 h 585"/>
                <a:gd name="T2" fmla="*/ 2147483647 w 857"/>
                <a:gd name="T3" fmla="*/ 0 h 585"/>
                <a:gd name="T4" fmla="*/ 2147483647 w 857"/>
                <a:gd name="T5" fmla="*/ 2147483647 h 585"/>
                <a:gd name="T6" fmla="*/ 2147483647 w 857"/>
                <a:gd name="T7" fmla="*/ 2147483647 h 585"/>
                <a:gd name="T8" fmla="*/ 2147483647 w 857"/>
                <a:gd name="T9" fmla="*/ 2147483647 h 585"/>
                <a:gd name="T10" fmla="*/ 0 w 857"/>
                <a:gd name="T11" fmla="*/ 2147483647 h 585"/>
                <a:gd name="T12" fmla="*/ 2147483647 w 857"/>
                <a:gd name="T13" fmla="*/ 0 h 58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57"/>
                <a:gd name="T22" fmla="*/ 0 h 585"/>
                <a:gd name="T23" fmla="*/ 857 w 857"/>
                <a:gd name="T24" fmla="*/ 585 h 58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57" h="585">
                  <a:moveTo>
                    <a:pt x="224" y="0"/>
                  </a:moveTo>
                  <a:lnTo>
                    <a:pt x="648" y="0"/>
                  </a:lnTo>
                  <a:lnTo>
                    <a:pt x="856" y="288"/>
                  </a:lnTo>
                  <a:lnTo>
                    <a:pt x="648" y="584"/>
                  </a:lnTo>
                  <a:lnTo>
                    <a:pt x="224" y="584"/>
                  </a:lnTo>
                  <a:lnTo>
                    <a:pt x="0" y="288"/>
                  </a:lnTo>
                  <a:lnTo>
                    <a:pt x="224" y="0"/>
                  </a:lnTo>
                </a:path>
              </a:pathLst>
            </a:custGeom>
            <a:solidFill>
              <a:srgbClr val="437617"/>
            </a:solidFill>
            <a:ln w="12700" cap="rnd">
              <a:noFill/>
              <a:round/>
              <a:headEnd/>
              <a:tailEnd/>
            </a:ln>
          </p:spPr>
          <p:txBody>
            <a:bodyPr anchor="ctr" anchorCtr="1"/>
            <a:lstStyle/>
            <a:p>
              <a:pPr algn="ctr"/>
              <a:r>
                <a:rPr lang="en-GB" b="1">
                  <a:solidFill>
                    <a:schemeClr val="bg1"/>
                  </a:solidFill>
                  <a:latin typeface="Arial" charset="0"/>
                  <a:cs typeface="Arial" charset="0"/>
                </a:rPr>
                <a:t>EMPRESA</a:t>
              </a:r>
            </a:p>
          </p:txBody>
        </p:sp>
        <p:grpSp>
          <p:nvGrpSpPr>
            <p:cNvPr id="30736" name="Group 4"/>
            <p:cNvGrpSpPr>
              <a:grpSpLocks/>
            </p:cNvGrpSpPr>
            <p:nvPr/>
          </p:nvGrpSpPr>
          <p:grpSpPr bwMode="auto">
            <a:xfrm>
              <a:off x="2703413" y="2214170"/>
              <a:ext cx="2395357" cy="3345852"/>
              <a:chOff x="2748785" y="2214170"/>
              <a:chExt cx="2395357" cy="3345852"/>
            </a:xfrm>
          </p:grpSpPr>
          <p:sp>
            <p:nvSpPr>
              <p:cNvPr id="30737" name="TextBox 2"/>
              <p:cNvSpPr txBox="1">
                <a:spLocks noChangeArrowheads="1"/>
              </p:cNvSpPr>
              <p:nvPr/>
            </p:nvSpPr>
            <p:spPr bwMode="auto">
              <a:xfrm>
                <a:off x="2980763" y="2491740"/>
                <a:ext cx="1950034" cy="6552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en-US" b="1">
                    <a:solidFill>
                      <a:srgbClr val="FFFFFF"/>
                    </a:solidFill>
                  </a:rPr>
                  <a:t>RISCO TÉCNOLOGICO</a:t>
                </a:r>
              </a:p>
            </p:txBody>
          </p:sp>
          <p:sp>
            <p:nvSpPr>
              <p:cNvPr id="30738" name="TextBox 25"/>
              <p:cNvSpPr txBox="1">
                <a:spLocks noChangeArrowheads="1"/>
              </p:cNvSpPr>
              <p:nvPr/>
            </p:nvSpPr>
            <p:spPr bwMode="auto">
              <a:xfrm>
                <a:off x="2957180" y="4903231"/>
                <a:ext cx="2020591" cy="3703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en-US" b="1">
                    <a:solidFill>
                      <a:srgbClr val="FFFFFF"/>
                    </a:solidFill>
                  </a:rPr>
                  <a:t>RISCO FINANCEIRO</a:t>
                </a:r>
              </a:p>
            </p:txBody>
          </p:sp>
          <p:sp>
            <p:nvSpPr>
              <p:cNvPr id="4" name="Rounded Rectangle 3"/>
              <p:cNvSpPr/>
              <p:nvPr/>
            </p:nvSpPr>
            <p:spPr>
              <a:xfrm>
                <a:off x="2748785" y="2214170"/>
                <a:ext cx="2395357" cy="3345852"/>
              </a:xfrm>
              <a:prstGeom prst="roundRect">
                <a:avLst/>
              </a:prstGeom>
              <a:noFill/>
              <a:ln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dirty="0">
                  <a:ln>
                    <a:solidFill>
                      <a:schemeClr val="tx1"/>
                    </a:solidFill>
                    <a:prstDash val="dot"/>
                  </a:ln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30" name="TextBox 26"/>
          <p:cNvSpPr txBox="1">
            <a:spLocks noChangeArrowheads="1"/>
          </p:cNvSpPr>
          <p:nvPr/>
        </p:nvSpPr>
        <p:spPr bwMode="auto">
          <a:xfrm>
            <a:off x="2754313" y="1076325"/>
            <a:ext cx="7378700" cy="156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tr-TR" sz="2800" b="1">
                <a:solidFill>
                  <a:srgbClr val="76A606"/>
                </a:solidFill>
                <a:latin typeface="Arial" charset="0"/>
                <a:cs typeface="Arial" charset="0"/>
              </a:rPr>
              <a:t>A. PROJETOS I&amp;DT INDIVIDUAIS</a:t>
            </a:r>
          </a:p>
          <a:p>
            <a:endParaRPr lang="tr-TR" sz="2800" b="1">
              <a:solidFill>
                <a:srgbClr val="739002"/>
              </a:solidFill>
              <a:latin typeface="Arial" charset="0"/>
              <a:cs typeface="Arial" charset="0"/>
            </a:endParaRPr>
          </a:p>
          <a:p>
            <a:endParaRPr lang="tr-TR" b="1">
              <a:solidFill>
                <a:srgbClr val="739002"/>
              </a:solidFill>
              <a:latin typeface="Arial" charset="0"/>
              <a:cs typeface="Arial" charset="0"/>
            </a:endParaRPr>
          </a:p>
          <a:p>
            <a:endParaRPr lang="en-US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8154" y="6535683"/>
            <a:ext cx="3071607" cy="65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Veeu6_LEaF2NHWdFN2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w6FY5DBUekYZy70MR32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xMK5vRR0mCeYNQbkx1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uYQPwgxESefHi1_39bp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heme/theme1.xml><?xml version="1.0" encoding="utf-8"?>
<a:theme xmlns:a="http://schemas.openxmlformats.org/drawingml/2006/main" name="CompeteSemAnimaçõ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mpeteSemAnimações.potx</Template>
  <TotalTime>793</TotalTime>
  <Words>1326</Words>
  <Application>Microsoft Office PowerPoint</Application>
  <PresentationFormat>Custom</PresentationFormat>
  <Paragraphs>464</Paragraphs>
  <Slides>46</Slides>
  <Notes>44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47" baseType="lpstr">
      <vt:lpstr>CompeteSemAnimaçõ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Zincodesig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e Pedro Coelho</dc:creator>
  <cp:lastModifiedBy>Francisco Nunes</cp:lastModifiedBy>
  <cp:revision>88</cp:revision>
  <cp:lastPrinted>2012-12-17T11:19:46Z</cp:lastPrinted>
  <dcterms:created xsi:type="dcterms:W3CDTF">2012-12-14T10:43:29Z</dcterms:created>
  <dcterms:modified xsi:type="dcterms:W3CDTF">2012-12-18T00:23:09Z</dcterms:modified>
</cp:coreProperties>
</file>